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6.xml" ContentType="application/vnd.openxmlformats-officedocument.theme+xml"/>
  <Override PartName="/ppt/tags/tag10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7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8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9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10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11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12.xml" ContentType="application/vnd.openxmlformats-officedocument.theme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theme/theme13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heme/theme14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heme/theme15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theme/theme16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theme/theme17.xml" ContentType="application/vnd.openxmlformats-officedocument.them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theme/theme18.xml" ContentType="application/vnd.openxmlformats-officedocument.them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theme/theme19.xml" ContentType="application/vnd.openxmlformats-officedocument.them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theme/theme20.xml" ContentType="application/vnd.openxmlformats-officedocument.them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theme/theme21.xml" ContentType="application/vnd.openxmlformats-officedocument.them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theme/theme22.xml" ContentType="application/vnd.openxmlformats-officedocument.them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theme/theme23.xml" ContentType="application/vnd.openxmlformats-officedocument.them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theme/theme24.xml" ContentType="application/vnd.openxmlformats-officedocument.them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theme/theme25.xml" ContentType="application/vnd.openxmlformats-officedocument.them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theme/theme26.xml" ContentType="application/vnd.openxmlformats-officedocument.them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theme/theme27.xml" ContentType="application/vnd.openxmlformats-officedocument.them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theme/theme28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theme/theme29.xml" ContentType="application/vnd.openxmlformats-officedocument.them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heme/theme30.xml" ContentType="application/vnd.openxmlformats-officedocument.theme+xml"/>
  <Override PartName="/ppt/theme/theme3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5195" r:id="rId1"/>
    <p:sldMasterId id="2147515695" r:id="rId2"/>
    <p:sldMasterId id="2147515710" r:id="rId3"/>
    <p:sldMasterId id="2147515723" r:id="rId4"/>
    <p:sldMasterId id="2147515737" r:id="rId5"/>
    <p:sldMasterId id="2147515751" r:id="rId6"/>
    <p:sldMasterId id="2147515766" r:id="rId7"/>
    <p:sldMasterId id="2147515780" r:id="rId8"/>
    <p:sldMasterId id="2147515794" r:id="rId9"/>
    <p:sldMasterId id="2147515808" r:id="rId10"/>
    <p:sldMasterId id="2147515821" r:id="rId11"/>
    <p:sldMasterId id="2147515835" r:id="rId12"/>
    <p:sldMasterId id="2147515848" r:id="rId13"/>
    <p:sldMasterId id="2147515861" r:id="rId14"/>
    <p:sldMasterId id="2147515873" r:id="rId15"/>
    <p:sldMasterId id="2147515885" r:id="rId16"/>
    <p:sldMasterId id="2147515897" r:id="rId17"/>
    <p:sldMasterId id="2147515909" r:id="rId18"/>
    <p:sldMasterId id="2147515921" r:id="rId19"/>
    <p:sldMasterId id="2147515933" r:id="rId20"/>
    <p:sldMasterId id="2147515946" r:id="rId21"/>
    <p:sldMasterId id="2147515959" r:id="rId22"/>
    <p:sldMasterId id="2147515972" r:id="rId23"/>
    <p:sldMasterId id="2147515985" r:id="rId24"/>
    <p:sldMasterId id="2147515998" r:id="rId25"/>
    <p:sldMasterId id="2147516011" r:id="rId26"/>
    <p:sldMasterId id="2147516025" r:id="rId27"/>
    <p:sldMasterId id="2147516039" r:id="rId28"/>
    <p:sldMasterId id="2147516051" r:id="rId29"/>
  </p:sldMasterIdLst>
  <p:notesMasterIdLst>
    <p:notesMasterId r:id="rId34"/>
  </p:notesMasterIdLst>
  <p:handoutMasterIdLst>
    <p:handoutMasterId r:id="rId35"/>
  </p:handoutMasterIdLst>
  <p:sldIdLst>
    <p:sldId id="676" r:id="rId30"/>
    <p:sldId id="705" r:id="rId31"/>
    <p:sldId id="665" r:id="rId32"/>
    <p:sldId id="710" r:id="rId33"/>
  </p:sldIdLst>
  <p:sldSz cx="9144000" cy="6858000" type="screen4x3"/>
  <p:notesSz cx="6797675" cy="9926638"/>
  <p:custDataLst>
    <p:tags r:id="rId36"/>
  </p:custDataLst>
  <p:defaultTextStyle>
    <a:defPPr>
      <a:defRPr lang="fr-FR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80">
          <p15:clr>
            <a:srgbClr val="A4A3A4"/>
          </p15:clr>
        </p15:guide>
        <p15:guide id="2" orient="horz" pos="744">
          <p15:clr>
            <a:srgbClr val="A4A3A4"/>
          </p15:clr>
        </p15:guide>
        <p15:guide id="3" orient="horz" pos="3719">
          <p15:clr>
            <a:srgbClr val="A4A3A4"/>
          </p15:clr>
        </p15:guide>
        <p15:guide id="4" orient="horz" pos="3138">
          <p15:clr>
            <a:srgbClr val="A4A3A4"/>
          </p15:clr>
        </p15:guide>
        <p15:guide id="5" orient="horz" pos="966">
          <p15:clr>
            <a:srgbClr val="A4A3A4"/>
          </p15:clr>
        </p15:guide>
        <p15:guide id="6" orient="horz" pos="2255">
          <p15:clr>
            <a:srgbClr val="A4A3A4"/>
          </p15:clr>
        </p15:guide>
        <p15:guide id="7" orient="horz" pos="1108">
          <p15:clr>
            <a:srgbClr val="A4A3A4"/>
          </p15:clr>
        </p15:guide>
        <p15:guide id="8" orient="horz" pos="2819">
          <p15:clr>
            <a:srgbClr val="A4A3A4"/>
          </p15:clr>
        </p15:guide>
        <p15:guide id="9" pos="192">
          <p15:clr>
            <a:srgbClr val="A4A3A4"/>
          </p15:clr>
        </p15:guide>
        <p15:guide id="10" pos="5578">
          <p15:clr>
            <a:srgbClr val="A4A3A4"/>
          </p15:clr>
        </p15:guide>
        <p15:guide id="11" pos="4815">
          <p15:clr>
            <a:srgbClr val="A4A3A4"/>
          </p15:clr>
        </p15:guide>
        <p15:guide id="12" pos="1984">
          <p15:clr>
            <a:srgbClr val="A4A3A4"/>
          </p15:clr>
        </p15:guide>
        <p15:guide id="13" pos="5441">
          <p15:clr>
            <a:srgbClr val="A4A3A4"/>
          </p15:clr>
        </p15:guide>
        <p15:guide id="14" pos="492">
          <p15:clr>
            <a:srgbClr val="A4A3A4"/>
          </p15:clr>
        </p15:guide>
        <p15:guide id="15" pos="329">
          <p15:clr>
            <a:srgbClr val="A4A3A4"/>
          </p15:clr>
        </p15:guide>
        <p15:guide id="16" pos="4640">
          <p15:clr>
            <a:srgbClr val="A4A3A4"/>
          </p15:clr>
        </p15:guide>
        <p15:guide id="17" pos="4004">
          <p15:clr>
            <a:srgbClr val="A4A3A4"/>
          </p15:clr>
        </p15:guide>
        <p15:guide id="18" pos="3841">
          <p15:clr>
            <a:srgbClr val="A4A3A4"/>
          </p15:clr>
        </p15:guide>
        <p15:guide id="19" pos="3206">
          <p15:clr>
            <a:srgbClr val="A4A3A4"/>
          </p15:clr>
        </p15:guide>
        <p15:guide id="20" pos="3037">
          <p15:clr>
            <a:srgbClr val="A4A3A4"/>
          </p15:clr>
        </p15:guide>
        <p15:guide id="21" pos="2395">
          <p15:clr>
            <a:srgbClr val="A4A3A4"/>
          </p15:clr>
        </p15:guide>
        <p15:guide id="22" pos="1596">
          <p15:clr>
            <a:srgbClr val="A4A3A4"/>
          </p15:clr>
        </p15:guide>
        <p15:guide id="23" pos="223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E4A830"/>
    <a:srgbClr val="777777"/>
    <a:srgbClr val="333399"/>
    <a:srgbClr val="FFFF66"/>
    <a:srgbClr val="0069B8"/>
    <a:srgbClr val="7030A0"/>
    <a:srgbClr val="DC006B"/>
    <a:srgbClr val="D1E9FF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Style moyen 1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359" autoAdjust="0"/>
    <p:restoredTop sz="85207" autoAdjust="0"/>
  </p:normalViewPr>
  <p:slideViewPr>
    <p:cSldViewPr snapToGrid="0" snapToObjects="1">
      <p:cViewPr varScale="1">
        <p:scale>
          <a:sx n="106" d="100"/>
          <a:sy n="106" d="100"/>
        </p:scale>
        <p:origin x="2448" y="62"/>
      </p:cViewPr>
      <p:guideLst>
        <p:guide orient="horz" pos="480"/>
        <p:guide orient="horz" pos="744"/>
        <p:guide orient="horz" pos="3719"/>
        <p:guide orient="horz" pos="3138"/>
        <p:guide orient="horz" pos="966"/>
        <p:guide orient="horz" pos="2255"/>
        <p:guide orient="horz" pos="1108"/>
        <p:guide orient="horz" pos="2819"/>
        <p:guide pos="192"/>
        <p:guide pos="5578"/>
        <p:guide pos="4815"/>
        <p:guide pos="1984"/>
        <p:guide pos="5441"/>
        <p:guide pos="492"/>
        <p:guide pos="329"/>
        <p:guide pos="4640"/>
        <p:guide pos="4004"/>
        <p:guide pos="3841"/>
        <p:guide pos="3206"/>
        <p:guide pos="3037"/>
        <p:guide pos="2395"/>
        <p:guide pos="1596"/>
        <p:guide pos="2239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2" d="100"/>
          <a:sy n="82" d="100"/>
        </p:scale>
        <p:origin x="-3948" y="-102"/>
      </p:cViewPr>
      <p:guideLst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" Target="slides/slide4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Master" Target="slideMasters/slideMaster29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" Target="slides/slide3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tags" Target="tags/tag1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2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" Target="slides/slide1.xml"/><Relationship Id="rId35" Type="http://schemas.openxmlformats.org/officeDocument/2006/relationships/handoutMaster" Target="handoutMasters/handoutMaster1.xml"/></Relationships>
</file>

<file path=ppt/diagrams/_rels/data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image" Target="../media/image25.jpeg"/></Relationships>
</file>

<file path=ppt/diagrams/_rels/drawing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image" Target="../media/image25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711CB89-1637-425D-994C-001CF12A5791}" type="doc">
      <dgm:prSet loTypeId="urn:microsoft.com/office/officeart/2005/8/layout/vList3" loCatId="list" qsTypeId="urn:microsoft.com/office/officeart/2005/8/quickstyle/simple4" qsCatId="simple" csTypeId="urn:microsoft.com/office/officeart/2005/8/colors/accent3_1" csCatId="accent3" phldr="1"/>
      <dgm:spPr/>
    </dgm:pt>
    <dgm:pt modelId="{0E7C86D7-C718-453B-B5F4-ADF4150156E9}">
      <dgm:prSet phldrT="[Text]" custT="1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n-US" sz="1600" dirty="0"/>
        </a:p>
      </dgm:t>
    </dgm:pt>
    <dgm:pt modelId="{DC484226-FB5D-4834-97DB-58B093E9D83F}" type="parTrans" cxnId="{3B50B784-4145-434D-AAEC-CCCEF7ACB9C0}">
      <dgm:prSet/>
      <dgm:spPr/>
      <dgm:t>
        <a:bodyPr/>
        <a:lstStyle/>
        <a:p>
          <a:endParaRPr lang="en-US"/>
        </a:p>
      </dgm:t>
    </dgm:pt>
    <dgm:pt modelId="{3DC5012E-85F3-4109-ACD5-6CDFAD27E5B7}" type="sibTrans" cxnId="{3B50B784-4145-434D-AAEC-CCCEF7ACB9C0}">
      <dgm:prSet/>
      <dgm:spPr/>
      <dgm:t>
        <a:bodyPr/>
        <a:lstStyle/>
        <a:p>
          <a:endParaRPr lang="en-US"/>
        </a:p>
      </dgm:t>
    </dgm:pt>
    <dgm:pt modelId="{21FF8877-6553-471D-9E64-50F16835A17E}" type="pres">
      <dgm:prSet presAssocID="{A711CB89-1637-425D-994C-001CF12A5791}" presName="linearFlow" presStyleCnt="0">
        <dgm:presLayoutVars>
          <dgm:dir/>
          <dgm:resizeHandles val="exact"/>
        </dgm:presLayoutVars>
      </dgm:prSet>
      <dgm:spPr/>
    </dgm:pt>
    <dgm:pt modelId="{5E3485F0-C272-472D-92A7-5C47149162C4}" type="pres">
      <dgm:prSet presAssocID="{0E7C86D7-C718-453B-B5F4-ADF4150156E9}" presName="composite" presStyleCnt="0"/>
      <dgm:spPr/>
    </dgm:pt>
    <dgm:pt modelId="{35CE1A5E-5155-433C-BE02-9FAD35571F85}" type="pres">
      <dgm:prSet presAssocID="{0E7C86D7-C718-453B-B5F4-ADF4150156E9}" presName="imgShp" presStyleLbl="fgImgPlace1" presStyleIdx="0" presStyleCnt="1" custScaleX="40269" custScaleY="44830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de-DE"/>
        </a:p>
      </dgm:t>
    </dgm:pt>
    <dgm:pt modelId="{5C1ECD78-4341-4BFB-90C1-481E689F19DD}" type="pres">
      <dgm:prSet presAssocID="{0E7C86D7-C718-453B-B5F4-ADF4150156E9}" presName="txShp" presStyleLbl="node1" presStyleIdx="0" presStyleCnt="1" custScaleX="112570" custScaleY="133184">
        <dgm:presLayoutVars>
          <dgm:bulletEnabled val="1"/>
        </dgm:presLayoutVars>
      </dgm:prSet>
      <dgm:spPr/>
      <dgm:t>
        <a:bodyPr/>
        <a:lstStyle/>
        <a:p>
          <a:endParaRPr lang="en-IE"/>
        </a:p>
      </dgm:t>
    </dgm:pt>
  </dgm:ptLst>
  <dgm:cxnLst>
    <dgm:cxn modelId="{5A9F48AC-A27D-40AF-86BA-A58C3254E4B0}" type="presOf" srcId="{0E7C86D7-C718-453B-B5F4-ADF4150156E9}" destId="{5C1ECD78-4341-4BFB-90C1-481E689F19DD}" srcOrd="0" destOrd="0" presId="urn:microsoft.com/office/officeart/2005/8/layout/vList3"/>
    <dgm:cxn modelId="{9F6C6318-F6B9-475A-885C-B3437FC71BDC}" type="presOf" srcId="{A711CB89-1637-425D-994C-001CF12A5791}" destId="{21FF8877-6553-471D-9E64-50F16835A17E}" srcOrd="0" destOrd="0" presId="urn:microsoft.com/office/officeart/2005/8/layout/vList3"/>
    <dgm:cxn modelId="{3B50B784-4145-434D-AAEC-CCCEF7ACB9C0}" srcId="{A711CB89-1637-425D-994C-001CF12A5791}" destId="{0E7C86D7-C718-453B-B5F4-ADF4150156E9}" srcOrd="0" destOrd="0" parTransId="{DC484226-FB5D-4834-97DB-58B093E9D83F}" sibTransId="{3DC5012E-85F3-4109-ACD5-6CDFAD27E5B7}"/>
    <dgm:cxn modelId="{23FC1B45-B97B-428E-8895-C9192F452D91}" type="presParOf" srcId="{21FF8877-6553-471D-9E64-50F16835A17E}" destId="{5E3485F0-C272-472D-92A7-5C47149162C4}" srcOrd="0" destOrd="0" presId="urn:microsoft.com/office/officeart/2005/8/layout/vList3"/>
    <dgm:cxn modelId="{73F4250D-D7A9-4332-AF82-E8F3DA899C3C}" type="presParOf" srcId="{5E3485F0-C272-472D-92A7-5C47149162C4}" destId="{35CE1A5E-5155-433C-BE02-9FAD35571F85}" srcOrd="0" destOrd="0" presId="urn:microsoft.com/office/officeart/2005/8/layout/vList3"/>
    <dgm:cxn modelId="{0F5FCBB9-A7CD-4114-9E36-AD6853E15292}" type="presParOf" srcId="{5E3485F0-C272-472D-92A7-5C47149162C4}" destId="{5C1ECD78-4341-4BFB-90C1-481E689F19DD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2E535F9-5109-47D4-A29A-2616F8B25541}" type="doc">
      <dgm:prSet loTypeId="urn:microsoft.com/office/officeart/2005/8/layout/cycle8" loCatId="cycle" qsTypeId="urn:microsoft.com/office/officeart/2005/8/quickstyle/simple1" qsCatId="simple" csTypeId="urn:microsoft.com/office/officeart/2005/8/colors/accent3_2" csCatId="accent3" phldr="1"/>
      <dgm:spPr/>
    </dgm:pt>
    <dgm:pt modelId="{89B05C32-81C2-4B0C-BA1B-D8FCA97A4AE2}">
      <dgm:prSet phldrT="[Tekst]"/>
      <dgm:spPr>
        <a:solidFill>
          <a:srgbClr val="FFC000"/>
        </a:solidFill>
      </dgm:spPr>
      <dgm:t>
        <a:bodyPr/>
        <a:lstStyle/>
        <a:p>
          <a:pPr algn="ctr" defTabSz="457200" rtl="0" eaLnBrk="0" fontAlgn="base" hangingPunct="0">
            <a:spcBef>
              <a:spcPct val="0"/>
            </a:spcBef>
            <a:spcAft>
              <a:spcPct val="0"/>
            </a:spcAft>
          </a:pPr>
          <a:r>
            <a:rPr lang="pl-PL" b="1" kern="1200" dirty="0" err="1" smtClean="0">
              <a:solidFill>
                <a:schemeClr val="bg1"/>
              </a:solidFill>
              <a:latin typeface="Century Gothic" panose="020B0502020202020204" pitchFamily="34" charset="0"/>
              <a:ea typeface="MS PGothic" pitchFamily="34" charset="-128"/>
              <a:cs typeface="+mn-cs"/>
            </a:rPr>
            <a:t>Values</a:t>
          </a:r>
          <a:r>
            <a:rPr lang="pl-PL" b="1" kern="1200" dirty="0" smtClean="0">
              <a:solidFill>
                <a:schemeClr val="bg1"/>
              </a:solidFill>
              <a:latin typeface="Century Gothic" panose="020B0502020202020204" pitchFamily="34" charset="0"/>
              <a:ea typeface="MS PGothic" pitchFamily="34" charset="-128"/>
              <a:cs typeface="+mn-cs"/>
            </a:rPr>
            <a:t> </a:t>
          </a:r>
          <a:endParaRPr lang="pl-PL" b="1" kern="1200" dirty="0">
            <a:solidFill>
              <a:schemeClr val="bg1"/>
            </a:solidFill>
            <a:latin typeface="Century Gothic" panose="020B0502020202020204" pitchFamily="34" charset="0"/>
            <a:ea typeface="MS PGothic" pitchFamily="34" charset="-128"/>
            <a:cs typeface="+mn-cs"/>
          </a:endParaRPr>
        </a:p>
      </dgm:t>
    </dgm:pt>
    <dgm:pt modelId="{592B2647-FE27-418A-83FF-448B1EA7A119}" type="parTrans" cxnId="{385AE0AA-5975-4ED7-BFF6-230664DD31BF}">
      <dgm:prSet/>
      <dgm:spPr/>
      <dgm:t>
        <a:bodyPr/>
        <a:lstStyle/>
        <a:p>
          <a:endParaRPr lang="pl-PL"/>
        </a:p>
      </dgm:t>
    </dgm:pt>
    <dgm:pt modelId="{81D3D60A-458C-4774-9975-347466944590}" type="sibTrans" cxnId="{385AE0AA-5975-4ED7-BFF6-230664DD31BF}">
      <dgm:prSet/>
      <dgm:spPr/>
      <dgm:t>
        <a:bodyPr/>
        <a:lstStyle/>
        <a:p>
          <a:endParaRPr lang="pl-PL"/>
        </a:p>
      </dgm:t>
    </dgm:pt>
    <dgm:pt modelId="{BBD91084-7D9A-494E-81D1-C635AD312B51}">
      <dgm:prSet phldrT="[Tekst]"/>
      <dgm:spPr>
        <a:solidFill>
          <a:srgbClr val="FFC000"/>
        </a:solidFill>
      </dgm:spPr>
      <dgm:t>
        <a:bodyPr/>
        <a:lstStyle/>
        <a:p>
          <a:pPr algn="ctr" defTabSz="457200" rtl="0" eaLnBrk="0" fontAlgn="base" hangingPunct="0">
            <a:spcBef>
              <a:spcPct val="0"/>
            </a:spcBef>
            <a:spcAft>
              <a:spcPct val="0"/>
            </a:spcAft>
          </a:pPr>
          <a:r>
            <a:rPr lang="pl-PL" b="1" kern="1200" dirty="0" smtClean="0">
              <a:solidFill>
                <a:schemeClr val="bg1"/>
              </a:solidFill>
              <a:latin typeface="Century Gothic" panose="020B0502020202020204" pitchFamily="34" charset="0"/>
              <a:ea typeface="MS PGothic" pitchFamily="34" charset="-128"/>
              <a:cs typeface="+mn-cs"/>
            </a:rPr>
            <a:t>To Serve Healthier, Fuller Lives</a:t>
          </a:r>
          <a:endParaRPr lang="pl-PL" b="1" kern="1200" dirty="0">
            <a:solidFill>
              <a:schemeClr val="bg1"/>
            </a:solidFill>
            <a:latin typeface="Century Gothic" panose="020B0502020202020204" pitchFamily="34" charset="0"/>
            <a:ea typeface="MS PGothic" pitchFamily="34" charset="-128"/>
            <a:cs typeface="+mn-cs"/>
          </a:endParaRPr>
        </a:p>
      </dgm:t>
    </dgm:pt>
    <dgm:pt modelId="{DE899AB0-C0A1-4EFD-BA10-1B2305C77A6C}" type="parTrans" cxnId="{E413332A-708C-44AE-B5A9-8B07FDEA9904}">
      <dgm:prSet/>
      <dgm:spPr/>
      <dgm:t>
        <a:bodyPr/>
        <a:lstStyle/>
        <a:p>
          <a:endParaRPr lang="pl-PL"/>
        </a:p>
      </dgm:t>
    </dgm:pt>
    <dgm:pt modelId="{DC8A314C-07A0-486A-928D-A57D76A65DC7}" type="sibTrans" cxnId="{E413332A-708C-44AE-B5A9-8B07FDEA9904}">
      <dgm:prSet/>
      <dgm:spPr/>
      <dgm:t>
        <a:bodyPr/>
        <a:lstStyle/>
        <a:p>
          <a:endParaRPr lang="pl-PL"/>
        </a:p>
      </dgm:t>
    </dgm:pt>
    <dgm:pt modelId="{E19C68D9-4AC1-4A7A-B353-315114409E01}">
      <dgm:prSet phldrT="[Tekst]"/>
      <dgm:spPr>
        <a:solidFill>
          <a:srgbClr val="FFC000"/>
        </a:solidFill>
      </dgm:spPr>
      <dgm:t>
        <a:bodyPr/>
        <a:lstStyle/>
        <a:p>
          <a:pPr algn="l" defTabSz="457200" rtl="0" eaLnBrk="0" fontAlgn="base" hangingPunct="0">
            <a:spcBef>
              <a:spcPct val="0"/>
            </a:spcBef>
            <a:spcAft>
              <a:spcPct val="0"/>
            </a:spcAft>
          </a:pPr>
          <a:r>
            <a:rPr lang="pl-PL" b="1" kern="1200" dirty="0" err="1" smtClean="0">
              <a:solidFill>
                <a:schemeClr val="bg1"/>
              </a:solidFill>
              <a:latin typeface="Century Gothic" panose="020B0502020202020204" pitchFamily="34" charset="0"/>
              <a:ea typeface="MS PGothic" pitchFamily="34" charset="-128"/>
              <a:cs typeface="+mn-cs"/>
            </a:rPr>
            <a:t>Purpose</a:t>
          </a:r>
          <a:endParaRPr lang="pl-PL" b="1" kern="1200" dirty="0">
            <a:solidFill>
              <a:schemeClr val="bg1"/>
            </a:solidFill>
            <a:latin typeface="Century Gothic" panose="020B0502020202020204" pitchFamily="34" charset="0"/>
            <a:ea typeface="MS PGothic" pitchFamily="34" charset="-128"/>
            <a:cs typeface="+mn-cs"/>
          </a:endParaRPr>
        </a:p>
      </dgm:t>
    </dgm:pt>
    <dgm:pt modelId="{4BD65F4A-F101-4F00-9F8C-C0DF45F7EB06}" type="parTrans" cxnId="{DCA4EAB4-9164-4FE3-8446-26FC0C86C66A}">
      <dgm:prSet/>
      <dgm:spPr/>
      <dgm:t>
        <a:bodyPr/>
        <a:lstStyle/>
        <a:p>
          <a:endParaRPr lang="pl-PL"/>
        </a:p>
      </dgm:t>
    </dgm:pt>
    <dgm:pt modelId="{38926D03-C7A4-401C-8A0F-FF8B1C7D40C4}" type="sibTrans" cxnId="{DCA4EAB4-9164-4FE3-8446-26FC0C86C66A}">
      <dgm:prSet/>
      <dgm:spPr/>
      <dgm:t>
        <a:bodyPr/>
        <a:lstStyle/>
        <a:p>
          <a:endParaRPr lang="pl-PL"/>
        </a:p>
      </dgm:t>
    </dgm:pt>
    <dgm:pt modelId="{585B2EB9-1260-4444-90CE-34D68DBB14AB}" type="pres">
      <dgm:prSet presAssocID="{B2E535F9-5109-47D4-A29A-2616F8B25541}" presName="compositeShape" presStyleCnt="0">
        <dgm:presLayoutVars>
          <dgm:chMax val="7"/>
          <dgm:dir/>
          <dgm:resizeHandles val="exact"/>
        </dgm:presLayoutVars>
      </dgm:prSet>
      <dgm:spPr/>
    </dgm:pt>
    <dgm:pt modelId="{46707A54-99A8-4865-8D84-D735E03418AC}" type="pres">
      <dgm:prSet presAssocID="{B2E535F9-5109-47D4-A29A-2616F8B25541}" presName="wedge1" presStyleLbl="node1" presStyleIdx="0" presStyleCnt="3"/>
      <dgm:spPr/>
      <dgm:t>
        <a:bodyPr/>
        <a:lstStyle/>
        <a:p>
          <a:endParaRPr lang="pl-PL"/>
        </a:p>
      </dgm:t>
    </dgm:pt>
    <dgm:pt modelId="{FD1A47BB-681B-4A37-8161-EA832C531870}" type="pres">
      <dgm:prSet presAssocID="{B2E535F9-5109-47D4-A29A-2616F8B25541}" presName="dummy1a" presStyleCnt="0"/>
      <dgm:spPr/>
    </dgm:pt>
    <dgm:pt modelId="{1C141C8A-FF7B-4FB7-BBDD-C1C2E00B1262}" type="pres">
      <dgm:prSet presAssocID="{B2E535F9-5109-47D4-A29A-2616F8B25541}" presName="dummy1b" presStyleCnt="0"/>
      <dgm:spPr/>
    </dgm:pt>
    <dgm:pt modelId="{01B68353-4C1A-4386-8E1C-CBCDB65E55CC}" type="pres">
      <dgm:prSet presAssocID="{B2E535F9-5109-47D4-A29A-2616F8B25541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1F4CA4B8-0689-4339-B405-C5F9D2F29FDF}" type="pres">
      <dgm:prSet presAssocID="{B2E535F9-5109-47D4-A29A-2616F8B25541}" presName="wedge2" presStyleLbl="node1" presStyleIdx="1" presStyleCnt="3"/>
      <dgm:spPr/>
      <dgm:t>
        <a:bodyPr/>
        <a:lstStyle/>
        <a:p>
          <a:endParaRPr lang="pl-PL"/>
        </a:p>
      </dgm:t>
    </dgm:pt>
    <dgm:pt modelId="{6CC186FD-81B5-4C4D-98A9-D35116CDAD60}" type="pres">
      <dgm:prSet presAssocID="{B2E535F9-5109-47D4-A29A-2616F8B25541}" presName="dummy2a" presStyleCnt="0"/>
      <dgm:spPr/>
    </dgm:pt>
    <dgm:pt modelId="{5C052303-519E-4F80-96B3-CE3A33FC77AE}" type="pres">
      <dgm:prSet presAssocID="{B2E535F9-5109-47D4-A29A-2616F8B25541}" presName="dummy2b" presStyleCnt="0"/>
      <dgm:spPr/>
    </dgm:pt>
    <dgm:pt modelId="{90A17952-9011-4819-A98C-86B76D19098E}" type="pres">
      <dgm:prSet presAssocID="{B2E535F9-5109-47D4-A29A-2616F8B25541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BF0CEF4B-CDDB-4C44-81AE-178A72BEBDA4}" type="pres">
      <dgm:prSet presAssocID="{B2E535F9-5109-47D4-A29A-2616F8B25541}" presName="wedge3" presStyleLbl="node1" presStyleIdx="2" presStyleCnt="3"/>
      <dgm:spPr/>
      <dgm:t>
        <a:bodyPr/>
        <a:lstStyle/>
        <a:p>
          <a:endParaRPr lang="pl-PL"/>
        </a:p>
      </dgm:t>
    </dgm:pt>
    <dgm:pt modelId="{CD5CEE4B-2969-45E6-9E31-E4EA1A6515EB}" type="pres">
      <dgm:prSet presAssocID="{B2E535F9-5109-47D4-A29A-2616F8B25541}" presName="dummy3a" presStyleCnt="0"/>
      <dgm:spPr/>
    </dgm:pt>
    <dgm:pt modelId="{EC583169-158F-4B6F-8DB4-E5D1DE7C7070}" type="pres">
      <dgm:prSet presAssocID="{B2E535F9-5109-47D4-A29A-2616F8B25541}" presName="dummy3b" presStyleCnt="0"/>
      <dgm:spPr/>
    </dgm:pt>
    <dgm:pt modelId="{7066007E-EC15-439C-8795-CA3CF03536C2}" type="pres">
      <dgm:prSet presAssocID="{B2E535F9-5109-47D4-A29A-2616F8B25541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0BE3FD1C-EFEB-4A08-B8FE-EC1A240E2F1A}" type="pres">
      <dgm:prSet presAssocID="{81D3D60A-458C-4774-9975-347466944590}" presName="arrowWedge1" presStyleLbl="fgSibTrans2D1" presStyleIdx="0" presStyleCnt="3"/>
      <dgm:spPr/>
    </dgm:pt>
    <dgm:pt modelId="{57F7163B-D4B3-49B8-828B-B410BCB3BA1B}" type="pres">
      <dgm:prSet presAssocID="{DC8A314C-07A0-486A-928D-A57D76A65DC7}" presName="arrowWedge2" presStyleLbl="fgSibTrans2D1" presStyleIdx="1" presStyleCnt="3"/>
      <dgm:spPr/>
    </dgm:pt>
    <dgm:pt modelId="{24460DD2-6B87-4E68-9BDD-83D18604A9AA}" type="pres">
      <dgm:prSet presAssocID="{38926D03-C7A4-401C-8A0F-FF8B1C7D40C4}" presName="arrowWedge3" presStyleLbl="fgSibTrans2D1" presStyleIdx="2" presStyleCnt="3"/>
      <dgm:spPr/>
    </dgm:pt>
  </dgm:ptLst>
  <dgm:cxnLst>
    <dgm:cxn modelId="{445CBEDC-4084-4357-9EF9-C5DEB00EA018}" type="presOf" srcId="{BBD91084-7D9A-494E-81D1-C635AD312B51}" destId="{1F4CA4B8-0689-4339-B405-C5F9D2F29FDF}" srcOrd="0" destOrd="0" presId="urn:microsoft.com/office/officeart/2005/8/layout/cycle8"/>
    <dgm:cxn modelId="{2AB523A6-B499-4B9B-AB44-5D08ABAF625F}" type="presOf" srcId="{89B05C32-81C2-4B0C-BA1B-D8FCA97A4AE2}" destId="{46707A54-99A8-4865-8D84-D735E03418AC}" srcOrd="0" destOrd="0" presId="urn:microsoft.com/office/officeart/2005/8/layout/cycle8"/>
    <dgm:cxn modelId="{8F991274-BAA6-400F-ADAF-D82FDA404F05}" type="presOf" srcId="{B2E535F9-5109-47D4-A29A-2616F8B25541}" destId="{585B2EB9-1260-4444-90CE-34D68DBB14AB}" srcOrd="0" destOrd="0" presId="urn:microsoft.com/office/officeart/2005/8/layout/cycle8"/>
    <dgm:cxn modelId="{917CAC7E-0C34-482E-BF1C-4696A1367964}" type="presOf" srcId="{89B05C32-81C2-4B0C-BA1B-D8FCA97A4AE2}" destId="{01B68353-4C1A-4386-8E1C-CBCDB65E55CC}" srcOrd="1" destOrd="0" presId="urn:microsoft.com/office/officeart/2005/8/layout/cycle8"/>
    <dgm:cxn modelId="{385AE0AA-5975-4ED7-BFF6-230664DD31BF}" srcId="{B2E535F9-5109-47D4-A29A-2616F8B25541}" destId="{89B05C32-81C2-4B0C-BA1B-D8FCA97A4AE2}" srcOrd="0" destOrd="0" parTransId="{592B2647-FE27-418A-83FF-448B1EA7A119}" sibTransId="{81D3D60A-458C-4774-9975-347466944590}"/>
    <dgm:cxn modelId="{DCA4EAB4-9164-4FE3-8446-26FC0C86C66A}" srcId="{B2E535F9-5109-47D4-A29A-2616F8B25541}" destId="{E19C68D9-4AC1-4A7A-B353-315114409E01}" srcOrd="2" destOrd="0" parTransId="{4BD65F4A-F101-4F00-9F8C-C0DF45F7EB06}" sibTransId="{38926D03-C7A4-401C-8A0F-FF8B1C7D40C4}"/>
    <dgm:cxn modelId="{FFCFF335-A61B-4AA8-89A5-E6FCFEA0168D}" type="presOf" srcId="{BBD91084-7D9A-494E-81D1-C635AD312B51}" destId="{90A17952-9011-4819-A98C-86B76D19098E}" srcOrd="1" destOrd="0" presId="urn:microsoft.com/office/officeart/2005/8/layout/cycle8"/>
    <dgm:cxn modelId="{141B4507-2483-4282-B805-D4DED386A48D}" type="presOf" srcId="{E19C68D9-4AC1-4A7A-B353-315114409E01}" destId="{7066007E-EC15-439C-8795-CA3CF03536C2}" srcOrd="1" destOrd="0" presId="urn:microsoft.com/office/officeart/2005/8/layout/cycle8"/>
    <dgm:cxn modelId="{9205B6D9-3F91-4051-B5A0-A255E2F38DBD}" type="presOf" srcId="{E19C68D9-4AC1-4A7A-B353-315114409E01}" destId="{BF0CEF4B-CDDB-4C44-81AE-178A72BEBDA4}" srcOrd="0" destOrd="0" presId="urn:microsoft.com/office/officeart/2005/8/layout/cycle8"/>
    <dgm:cxn modelId="{E413332A-708C-44AE-B5A9-8B07FDEA9904}" srcId="{B2E535F9-5109-47D4-A29A-2616F8B25541}" destId="{BBD91084-7D9A-494E-81D1-C635AD312B51}" srcOrd="1" destOrd="0" parTransId="{DE899AB0-C0A1-4EFD-BA10-1B2305C77A6C}" sibTransId="{DC8A314C-07A0-486A-928D-A57D76A65DC7}"/>
    <dgm:cxn modelId="{B32A39DB-FC2A-4E52-A242-84E07F6744CD}" type="presParOf" srcId="{585B2EB9-1260-4444-90CE-34D68DBB14AB}" destId="{46707A54-99A8-4865-8D84-D735E03418AC}" srcOrd="0" destOrd="0" presId="urn:microsoft.com/office/officeart/2005/8/layout/cycle8"/>
    <dgm:cxn modelId="{8531BCAD-DEDE-4296-8B2C-8535568F8093}" type="presParOf" srcId="{585B2EB9-1260-4444-90CE-34D68DBB14AB}" destId="{FD1A47BB-681B-4A37-8161-EA832C531870}" srcOrd="1" destOrd="0" presId="urn:microsoft.com/office/officeart/2005/8/layout/cycle8"/>
    <dgm:cxn modelId="{E902E5BF-0B59-4FEB-88A5-EC3262379C8A}" type="presParOf" srcId="{585B2EB9-1260-4444-90CE-34D68DBB14AB}" destId="{1C141C8A-FF7B-4FB7-BBDD-C1C2E00B1262}" srcOrd="2" destOrd="0" presId="urn:microsoft.com/office/officeart/2005/8/layout/cycle8"/>
    <dgm:cxn modelId="{842A4025-2AEB-4361-9DE6-8EB4D4A6C000}" type="presParOf" srcId="{585B2EB9-1260-4444-90CE-34D68DBB14AB}" destId="{01B68353-4C1A-4386-8E1C-CBCDB65E55CC}" srcOrd="3" destOrd="0" presId="urn:microsoft.com/office/officeart/2005/8/layout/cycle8"/>
    <dgm:cxn modelId="{8639AAAB-5FEE-4010-93DB-BA7ECE79BEEC}" type="presParOf" srcId="{585B2EB9-1260-4444-90CE-34D68DBB14AB}" destId="{1F4CA4B8-0689-4339-B405-C5F9D2F29FDF}" srcOrd="4" destOrd="0" presId="urn:microsoft.com/office/officeart/2005/8/layout/cycle8"/>
    <dgm:cxn modelId="{85C797C9-9E86-4762-A0BC-711D7C3DC324}" type="presParOf" srcId="{585B2EB9-1260-4444-90CE-34D68DBB14AB}" destId="{6CC186FD-81B5-4C4D-98A9-D35116CDAD60}" srcOrd="5" destOrd="0" presId="urn:microsoft.com/office/officeart/2005/8/layout/cycle8"/>
    <dgm:cxn modelId="{51F91D32-41ED-4617-8E3B-47023D5D1FC9}" type="presParOf" srcId="{585B2EB9-1260-4444-90CE-34D68DBB14AB}" destId="{5C052303-519E-4F80-96B3-CE3A33FC77AE}" srcOrd="6" destOrd="0" presId="urn:microsoft.com/office/officeart/2005/8/layout/cycle8"/>
    <dgm:cxn modelId="{26A31BFB-F24D-4FA1-8BEC-BABF1A8C4220}" type="presParOf" srcId="{585B2EB9-1260-4444-90CE-34D68DBB14AB}" destId="{90A17952-9011-4819-A98C-86B76D19098E}" srcOrd="7" destOrd="0" presId="urn:microsoft.com/office/officeart/2005/8/layout/cycle8"/>
    <dgm:cxn modelId="{13F0C5B4-215E-4356-84C1-09E37CE9D335}" type="presParOf" srcId="{585B2EB9-1260-4444-90CE-34D68DBB14AB}" destId="{BF0CEF4B-CDDB-4C44-81AE-178A72BEBDA4}" srcOrd="8" destOrd="0" presId="urn:microsoft.com/office/officeart/2005/8/layout/cycle8"/>
    <dgm:cxn modelId="{344CB04B-3716-447E-B1AE-0D10922E80D1}" type="presParOf" srcId="{585B2EB9-1260-4444-90CE-34D68DBB14AB}" destId="{CD5CEE4B-2969-45E6-9E31-E4EA1A6515EB}" srcOrd="9" destOrd="0" presId="urn:microsoft.com/office/officeart/2005/8/layout/cycle8"/>
    <dgm:cxn modelId="{9D6BFC2D-8DF1-4943-99E0-FDABE26131B1}" type="presParOf" srcId="{585B2EB9-1260-4444-90CE-34D68DBB14AB}" destId="{EC583169-158F-4B6F-8DB4-E5D1DE7C7070}" srcOrd="10" destOrd="0" presId="urn:microsoft.com/office/officeart/2005/8/layout/cycle8"/>
    <dgm:cxn modelId="{8F5D6F67-7E82-4E1D-B356-E5503E2A0782}" type="presParOf" srcId="{585B2EB9-1260-4444-90CE-34D68DBB14AB}" destId="{7066007E-EC15-439C-8795-CA3CF03536C2}" srcOrd="11" destOrd="0" presId="urn:microsoft.com/office/officeart/2005/8/layout/cycle8"/>
    <dgm:cxn modelId="{B3FC4B4D-73AC-47B7-A119-4DD50679784C}" type="presParOf" srcId="{585B2EB9-1260-4444-90CE-34D68DBB14AB}" destId="{0BE3FD1C-EFEB-4A08-B8FE-EC1A240E2F1A}" srcOrd="12" destOrd="0" presId="urn:microsoft.com/office/officeart/2005/8/layout/cycle8"/>
    <dgm:cxn modelId="{DC101E2D-EFDF-4572-8D08-2DD6AFBA52BE}" type="presParOf" srcId="{585B2EB9-1260-4444-90CE-34D68DBB14AB}" destId="{57F7163B-D4B3-49B8-828B-B410BCB3BA1B}" srcOrd="13" destOrd="0" presId="urn:microsoft.com/office/officeart/2005/8/layout/cycle8"/>
    <dgm:cxn modelId="{B203E932-B73B-481B-B268-768004C9E6EE}" type="presParOf" srcId="{585B2EB9-1260-4444-90CE-34D68DBB14AB}" destId="{24460DD2-6B87-4E68-9BDD-83D18604A9AA}" srcOrd="14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1ECD78-4341-4BFB-90C1-481E689F19DD}">
      <dsp:nvSpPr>
        <dsp:cNvPr id="0" name=""/>
        <dsp:cNvSpPr/>
      </dsp:nvSpPr>
      <dsp:spPr>
        <a:xfrm rot="10800000">
          <a:off x="1266439" y="1987"/>
          <a:ext cx="6845111" cy="4075761"/>
        </a:xfrm>
        <a:prstGeom prst="homePlat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49485" tIns="60960" rIns="113792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 dirty="0"/>
        </a:p>
      </dsp:txBody>
      <dsp:txXfrm rot="10800000">
        <a:off x="2285379" y="1987"/>
        <a:ext cx="5826171" cy="4075761"/>
      </dsp:txXfrm>
    </dsp:sp>
    <dsp:sp modelId="{35CE1A5E-5155-433C-BE02-9FAD35571F85}">
      <dsp:nvSpPr>
        <dsp:cNvPr id="0" name=""/>
        <dsp:cNvSpPr/>
      </dsp:nvSpPr>
      <dsp:spPr>
        <a:xfrm>
          <a:off x="1032449" y="1353913"/>
          <a:ext cx="1232331" cy="1371909"/>
        </a:xfrm>
        <a:prstGeom prst="ellipse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6707A54-99A8-4865-8D84-D735E03418AC}">
      <dsp:nvSpPr>
        <dsp:cNvPr id="0" name=""/>
        <dsp:cNvSpPr/>
      </dsp:nvSpPr>
      <dsp:spPr>
        <a:xfrm>
          <a:off x="1411427" y="264159"/>
          <a:ext cx="3413760" cy="3413760"/>
        </a:xfrm>
        <a:prstGeom prst="pie">
          <a:avLst>
            <a:gd name="adj1" fmla="val 16200000"/>
            <a:gd name="adj2" fmla="val 1800000"/>
          </a:avLst>
        </a:prstGeom>
        <a:solidFill>
          <a:srgbClr val="FFC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457200" rtl="0" eaLnBrk="0" fontAlgn="base" hangingPunct="0">
            <a:lnSpc>
              <a:spcPct val="90000"/>
            </a:lnSpc>
            <a:spcBef>
              <a:spcPct val="0"/>
            </a:spcBef>
            <a:spcAft>
              <a:spcPct val="0"/>
            </a:spcAft>
          </a:pPr>
          <a:r>
            <a:rPr lang="pl-PL" sz="2000" b="1" kern="1200" dirty="0" err="1" smtClean="0">
              <a:solidFill>
                <a:schemeClr val="bg1"/>
              </a:solidFill>
              <a:latin typeface="Century Gothic" panose="020B0502020202020204" pitchFamily="34" charset="0"/>
              <a:ea typeface="MS PGothic" pitchFamily="34" charset="-128"/>
              <a:cs typeface="+mn-cs"/>
            </a:rPr>
            <a:t>Values</a:t>
          </a:r>
          <a:r>
            <a:rPr lang="pl-PL" sz="2000" b="1" kern="1200" dirty="0" smtClean="0">
              <a:solidFill>
                <a:schemeClr val="bg1"/>
              </a:solidFill>
              <a:latin typeface="Century Gothic" panose="020B0502020202020204" pitchFamily="34" charset="0"/>
              <a:ea typeface="MS PGothic" pitchFamily="34" charset="-128"/>
              <a:cs typeface="+mn-cs"/>
            </a:rPr>
            <a:t> </a:t>
          </a:r>
          <a:endParaRPr lang="pl-PL" sz="2000" b="1" kern="1200" dirty="0">
            <a:solidFill>
              <a:schemeClr val="bg1"/>
            </a:solidFill>
            <a:latin typeface="Century Gothic" panose="020B0502020202020204" pitchFamily="34" charset="0"/>
            <a:ea typeface="MS PGothic" pitchFamily="34" charset="-128"/>
            <a:cs typeface="+mn-cs"/>
          </a:endParaRPr>
        </a:p>
      </dsp:txBody>
      <dsp:txXfrm>
        <a:off x="3210560" y="987551"/>
        <a:ext cx="1219200" cy="1016000"/>
      </dsp:txXfrm>
    </dsp:sp>
    <dsp:sp modelId="{1F4CA4B8-0689-4339-B405-C5F9D2F29FDF}">
      <dsp:nvSpPr>
        <dsp:cNvPr id="0" name=""/>
        <dsp:cNvSpPr/>
      </dsp:nvSpPr>
      <dsp:spPr>
        <a:xfrm>
          <a:off x="1341120" y="386079"/>
          <a:ext cx="3413760" cy="3413760"/>
        </a:xfrm>
        <a:prstGeom prst="pie">
          <a:avLst>
            <a:gd name="adj1" fmla="val 1800000"/>
            <a:gd name="adj2" fmla="val 9000000"/>
          </a:avLst>
        </a:prstGeom>
        <a:solidFill>
          <a:srgbClr val="FFC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457200" rtl="0" eaLnBrk="0" fontAlgn="base" hangingPunct="0">
            <a:lnSpc>
              <a:spcPct val="90000"/>
            </a:lnSpc>
            <a:spcBef>
              <a:spcPct val="0"/>
            </a:spcBef>
            <a:spcAft>
              <a:spcPct val="0"/>
            </a:spcAft>
          </a:pPr>
          <a:r>
            <a:rPr lang="pl-PL" sz="2000" b="1" kern="1200" dirty="0" smtClean="0">
              <a:solidFill>
                <a:schemeClr val="bg1"/>
              </a:solidFill>
              <a:latin typeface="Century Gothic" panose="020B0502020202020204" pitchFamily="34" charset="0"/>
              <a:ea typeface="MS PGothic" pitchFamily="34" charset="-128"/>
              <a:cs typeface="+mn-cs"/>
            </a:rPr>
            <a:t>To Serve Healthier, Fuller Lives</a:t>
          </a:r>
          <a:endParaRPr lang="pl-PL" sz="2000" b="1" kern="1200" dirty="0">
            <a:solidFill>
              <a:schemeClr val="bg1"/>
            </a:solidFill>
            <a:latin typeface="Century Gothic" panose="020B0502020202020204" pitchFamily="34" charset="0"/>
            <a:ea typeface="MS PGothic" pitchFamily="34" charset="-128"/>
            <a:cs typeface="+mn-cs"/>
          </a:endParaRPr>
        </a:p>
      </dsp:txBody>
      <dsp:txXfrm>
        <a:off x="2153920" y="2600960"/>
        <a:ext cx="1828800" cy="894080"/>
      </dsp:txXfrm>
    </dsp:sp>
    <dsp:sp modelId="{BF0CEF4B-CDDB-4C44-81AE-178A72BEBDA4}">
      <dsp:nvSpPr>
        <dsp:cNvPr id="0" name=""/>
        <dsp:cNvSpPr/>
      </dsp:nvSpPr>
      <dsp:spPr>
        <a:xfrm>
          <a:off x="1270812" y="264159"/>
          <a:ext cx="3413760" cy="3413760"/>
        </a:xfrm>
        <a:prstGeom prst="pie">
          <a:avLst>
            <a:gd name="adj1" fmla="val 9000000"/>
            <a:gd name="adj2" fmla="val 16200000"/>
          </a:avLst>
        </a:prstGeom>
        <a:solidFill>
          <a:srgbClr val="FFC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l" defTabSz="457200" rtl="0" eaLnBrk="0" fontAlgn="base" hangingPunct="0">
            <a:lnSpc>
              <a:spcPct val="90000"/>
            </a:lnSpc>
            <a:spcBef>
              <a:spcPct val="0"/>
            </a:spcBef>
            <a:spcAft>
              <a:spcPct val="0"/>
            </a:spcAft>
          </a:pPr>
          <a:r>
            <a:rPr lang="pl-PL" sz="2000" b="1" kern="1200" dirty="0" err="1" smtClean="0">
              <a:solidFill>
                <a:schemeClr val="bg1"/>
              </a:solidFill>
              <a:latin typeface="Century Gothic" panose="020B0502020202020204" pitchFamily="34" charset="0"/>
              <a:ea typeface="MS PGothic" pitchFamily="34" charset="-128"/>
              <a:cs typeface="+mn-cs"/>
            </a:rPr>
            <a:t>Purpose</a:t>
          </a:r>
          <a:endParaRPr lang="pl-PL" sz="2000" b="1" kern="1200" dirty="0">
            <a:solidFill>
              <a:schemeClr val="bg1"/>
            </a:solidFill>
            <a:latin typeface="Century Gothic" panose="020B0502020202020204" pitchFamily="34" charset="0"/>
            <a:ea typeface="MS PGothic" pitchFamily="34" charset="-128"/>
            <a:cs typeface="+mn-cs"/>
          </a:endParaRPr>
        </a:p>
      </dsp:txBody>
      <dsp:txXfrm>
        <a:off x="1666240" y="987551"/>
        <a:ext cx="1219200" cy="1016000"/>
      </dsp:txXfrm>
    </dsp:sp>
    <dsp:sp modelId="{0BE3FD1C-EFEB-4A08-B8FE-EC1A240E2F1A}">
      <dsp:nvSpPr>
        <dsp:cNvPr id="0" name=""/>
        <dsp:cNvSpPr/>
      </dsp:nvSpPr>
      <dsp:spPr>
        <a:xfrm>
          <a:off x="1200380" y="52831"/>
          <a:ext cx="3836416" cy="3836416"/>
        </a:xfrm>
        <a:prstGeom prst="circularArrow">
          <a:avLst>
            <a:gd name="adj1" fmla="val 5085"/>
            <a:gd name="adj2" fmla="val 327528"/>
            <a:gd name="adj3" fmla="val 1472472"/>
            <a:gd name="adj4" fmla="val 16199432"/>
            <a:gd name="adj5" fmla="val 5932"/>
          </a:avLst>
        </a:prstGeom>
        <a:solidFill>
          <a:schemeClr val="accent3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7F7163B-D4B3-49B8-828B-B410BCB3BA1B}">
      <dsp:nvSpPr>
        <dsp:cNvPr id="0" name=""/>
        <dsp:cNvSpPr/>
      </dsp:nvSpPr>
      <dsp:spPr>
        <a:xfrm>
          <a:off x="1129792" y="174536"/>
          <a:ext cx="3836416" cy="3836416"/>
        </a:xfrm>
        <a:prstGeom prst="circularArrow">
          <a:avLst>
            <a:gd name="adj1" fmla="val 5085"/>
            <a:gd name="adj2" fmla="val 327528"/>
            <a:gd name="adj3" fmla="val 8671970"/>
            <a:gd name="adj4" fmla="val 1800502"/>
            <a:gd name="adj5" fmla="val 5932"/>
          </a:avLst>
        </a:prstGeom>
        <a:solidFill>
          <a:schemeClr val="accent3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4460DD2-6B87-4E68-9BDD-83D18604A9AA}">
      <dsp:nvSpPr>
        <dsp:cNvPr id="0" name=""/>
        <dsp:cNvSpPr/>
      </dsp:nvSpPr>
      <dsp:spPr>
        <a:xfrm>
          <a:off x="1059203" y="52831"/>
          <a:ext cx="3836416" cy="3836416"/>
        </a:xfrm>
        <a:prstGeom prst="circularArrow">
          <a:avLst>
            <a:gd name="adj1" fmla="val 5085"/>
            <a:gd name="adj2" fmla="val 327528"/>
            <a:gd name="adj3" fmla="val 15873039"/>
            <a:gd name="adj4" fmla="val 9000000"/>
            <a:gd name="adj5" fmla="val 5932"/>
          </a:avLst>
        </a:prstGeom>
        <a:solidFill>
          <a:schemeClr val="accent3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958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1098" y="0"/>
            <a:ext cx="2944958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96ED1AC4-BB16-4F64-96A2-38E3E3E3C495}" type="datetimeFigureOut">
              <a:rPr lang="fr-FR"/>
              <a:pPr/>
              <a:t>16/02/2018</a:t>
            </a:fld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164"/>
            <a:ext cx="2944958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1098" y="9428164"/>
            <a:ext cx="2944958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C496C055-2F4D-47BF-A2EE-122EFBC39A22}" type="slidenum">
              <a:rPr lang="fr-FR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41621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958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1098" y="0"/>
            <a:ext cx="2944958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8CC8E707-4DC7-4473-847D-397977D4C66D}" type="datetimeFigureOut">
              <a:rPr lang="fr-FR"/>
              <a:pPr/>
              <a:t>16/02/2018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FR" noProof="0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606" y="4714876"/>
            <a:ext cx="5438464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164"/>
            <a:ext cx="2944958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/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1098" y="9428164"/>
            <a:ext cx="2944958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E6E3A718-3BC9-4275-889B-C11C4C5B8F2D}" type="slidenum">
              <a:rPr lang="fr-FR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8095505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E3A718-3BC9-4275-889B-C11C4C5B8F2D}" type="slidenum">
              <a:rPr lang="fr-FR" smtClean="0">
                <a:solidFill>
                  <a:prstClr val="black"/>
                </a:solidFill>
              </a:rPr>
              <a:pPr/>
              <a:t>1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58734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E3A718-3BC9-4275-889B-C11C4C5B8F2D}" type="slidenum">
              <a:rPr lang="fr-FR" smtClean="0">
                <a:solidFill>
                  <a:prstClr val="black"/>
                </a:solidFill>
              </a:rPr>
              <a:pPr/>
              <a:t>2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58734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E3A718-3BC9-4275-889B-C11C4C5B8F2D}" type="slidenum">
              <a:rPr lang="fr-FR" smtClean="0"/>
              <a:pPr/>
              <a:t>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476443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6E3A718-3BC9-4275-889B-C11C4C5B8F2D}" type="slidenum">
              <a:rPr lang="fr-FR" smtClean="0"/>
              <a:pPr/>
              <a:t>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496518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7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6.png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7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8.bin"/><Relationship Id="rId4" Type="http://schemas.openxmlformats.org/officeDocument/2006/relationships/image" Target="../media/image6.png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6.png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7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3.bin"/><Relationship Id="rId4" Type="http://schemas.openxmlformats.org/officeDocument/2006/relationships/image" Target="../media/image6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16.jpeg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5.bin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7.png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6.bin"/><Relationship Id="rId4" Type="http://schemas.openxmlformats.org/officeDocument/2006/relationships/image" Target="../media/image6.png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8.bin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5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30.bin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2.bin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3.bin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4.bin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6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35.bin"/></Relationships>
</file>

<file path=ppt/slideLayouts/_rels/slideLayout1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8.xml"/><Relationship Id="rId7" Type="http://schemas.openxmlformats.org/officeDocument/2006/relationships/oleObject" Target="../embeddings/oleObject36.bin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slideMaster" Target="../slideMasters/slideMaster16.xml"/><Relationship Id="rId5" Type="http://schemas.openxmlformats.org/officeDocument/2006/relationships/tags" Target="../tags/tag40.xml"/><Relationship Id="rId4" Type="http://schemas.openxmlformats.org/officeDocument/2006/relationships/tags" Target="../tags/tag39.xml"/></Relationships>
</file>

<file path=ppt/slideLayouts/_rels/slideLayout196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oleObject" Target="../embeddings/oleObject38.bin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12" Type="http://schemas.openxmlformats.org/officeDocument/2006/relationships/image" Target="../media/image23.png"/><Relationship Id="rId2" Type="http://schemas.openxmlformats.org/officeDocument/2006/relationships/tags" Target="../tags/tag41.xml"/><Relationship Id="rId1" Type="http://schemas.openxmlformats.org/officeDocument/2006/relationships/vmlDrawing" Target="../drawings/vmlDrawing37.vml"/><Relationship Id="rId6" Type="http://schemas.openxmlformats.org/officeDocument/2006/relationships/tags" Target="../tags/tag45.xml"/><Relationship Id="rId11" Type="http://schemas.openxmlformats.org/officeDocument/2006/relationships/image" Target="../media/image1.emf"/><Relationship Id="rId5" Type="http://schemas.openxmlformats.org/officeDocument/2006/relationships/tags" Target="../tags/tag44.xml"/><Relationship Id="rId10" Type="http://schemas.openxmlformats.org/officeDocument/2006/relationships/oleObject" Target="../embeddings/oleObject37.bin"/><Relationship Id="rId4" Type="http://schemas.openxmlformats.org/officeDocument/2006/relationships/tags" Target="../tags/tag43.xml"/><Relationship Id="rId9" Type="http://schemas.openxmlformats.org/officeDocument/2006/relationships/slideMaster" Target="../slideMasters/slideMaster16.xml"/><Relationship Id="rId14" Type="http://schemas.openxmlformats.org/officeDocument/2006/relationships/image" Target="../media/image3.emf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49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0.bin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7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41.bin"/></Relationships>
</file>

<file path=ppt/slideLayouts/_rels/slideLayout2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2.xml"/><Relationship Id="rId7" Type="http://schemas.openxmlformats.org/officeDocument/2006/relationships/oleObject" Target="../embeddings/oleObject42.bin"/><Relationship Id="rId2" Type="http://schemas.openxmlformats.org/officeDocument/2006/relationships/tags" Target="../tags/tag51.xml"/><Relationship Id="rId1" Type="http://schemas.openxmlformats.org/officeDocument/2006/relationships/vmlDrawing" Target="../drawings/vmlDrawing41.vml"/><Relationship Id="rId6" Type="http://schemas.openxmlformats.org/officeDocument/2006/relationships/slideMaster" Target="../slideMasters/slideMaster17.xml"/><Relationship Id="rId5" Type="http://schemas.openxmlformats.org/officeDocument/2006/relationships/tags" Target="../tags/tag54.xml"/><Relationship Id="rId4" Type="http://schemas.openxmlformats.org/officeDocument/2006/relationships/tags" Target="../tags/tag53.xml"/></Relationships>
</file>

<file path=ppt/slideLayouts/_rels/slideLayout207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oleObject" Target="../embeddings/oleObject44.bin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12" Type="http://schemas.openxmlformats.org/officeDocument/2006/relationships/image" Target="../media/image23.png"/><Relationship Id="rId2" Type="http://schemas.openxmlformats.org/officeDocument/2006/relationships/tags" Target="../tags/tag55.xml"/><Relationship Id="rId1" Type="http://schemas.openxmlformats.org/officeDocument/2006/relationships/vmlDrawing" Target="../drawings/vmlDrawing42.vml"/><Relationship Id="rId6" Type="http://schemas.openxmlformats.org/officeDocument/2006/relationships/tags" Target="../tags/tag59.xml"/><Relationship Id="rId11" Type="http://schemas.openxmlformats.org/officeDocument/2006/relationships/image" Target="../media/image1.emf"/><Relationship Id="rId5" Type="http://schemas.openxmlformats.org/officeDocument/2006/relationships/tags" Target="../tags/tag58.xml"/><Relationship Id="rId10" Type="http://schemas.openxmlformats.org/officeDocument/2006/relationships/oleObject" Target="../embeddings/oleObject43.bin"/><Relationship Id="rId4" Type="http://schemas.openxmlformats.org/officeDocument/2006/relationships/tags" Target="../tags/tag57.xml"/><Relationship Id="rId9" Type="http://schemas.openxmlformats.org/officeDocument/2006/relationships/slideMaster" Target="../slideMasters/slideMaster17.xml"/><Relationship Id="rId14" Type="http://schemas.openxmlformats.org/officeDocument/2006/relationships/image" Target="../media/image3.emf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63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6.bin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64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7.bin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65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8.bin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8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66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49.bin"/></Relationships>
</file>

<file path=ppt/slideLayouts/_rels/slideLayout2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8.xml"/><Relationship Id="rId7" Type="http://schemas.openxmlformats.org/officeDocument/2006/relationships/oleObject" Target="../embeddings/oleObject50.bin"/><Relationship Id="rId2" Type="http://schemas.openxmlformats.org/officeDocument/2006/relationships/tags" Target="../tags/tag67.xml"/><Relationship Id="rId1" Type="http://schemas.openxmlformats.org/officeDocument/2006/relationships/vmlDrawing" Target="../drawings/vmlDrawing48.vml"/><Relationship Id="rId6" Type="http://schemas.openxmlformats.org/officeDocument/2006/relationships/slideMaster" Target="../slideMasters/slideMaster18.xml"/><Relationship Id="rId5" Type="http://schemas.openxmlformats.org/officeDocument/2006/relationships/tags" Target="../tags/tag70.xml"/><Relationship Id="rId4" Type="http://schemas.openxmlformats.org/officeDocument/2006/relationships/tags" Target="../tags/tag69.xml"/></Relationships>
</file>

<file path=ppt/slideLayouts/_rels/slideLayout218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13" Type="http://schemas.openxmlformats.org/officeDocument/2006/relationships/oleObject" Target="../embeddings/oleObject52.bin"/><Relationship Id="rId3" Type="http://schemas.openxmlformats.org/officeDocument/2006/relationships/tags" Target="../tags/tag72.xml"/><Relationship Id="rId7" Type="http://schemas.openxmlformats.org/officeDocument/2006/relationships/tags" Target="../tags/tag76.xml"/><Relationship Id="rId12" Type="http://schemas.openxmlformats.org/officeDocument/2006/relationships/image" Target="../media/image23.png"/><Relationship Id="rId2" Type="http://schemas.openxmlformats.org/officeDocument/2006/relationships/tags" Target="../tags/tag71.xml"/><Relationship Id="rId1" Type="http://schemas.openxmlformats.org/officeDocument/2006/relationships/vmlDrawing" Target="../drawings/vmlDrawing49.vml"/><Relationship Id="rId6" Type="http://schemas.openxmlformats.org/officeDocument/2006/relationships/tags" Target="../tags/tag75.xml"/><Relationship Id="rId11" Type="http://schemas.openxmlformats.org/officeDocument/2006/relationships/image" Target="../media/image1.emf"/><Relationship Id="rId5" Type="http://schemas.openxmlformats.org/officeDocument/2006/relationships/tags" Target="../tags/tag74.xml"/><Relationship Id="rId10" Type="http://schemas.openxmlformats.org/officeDocument/2006/relationships/oleObject" Target="../embeddings/oleObject51.bin"/><Relationship Id="rId4" Type="http://schemas.openxmlformats.org/officeDocument/2006/relationships/tags" Target="../tags/tag73.xml"/><Relationship Id="rId9" Type="http://schemas.openxmlformats.org/officeDocument/2006/relationships/slideMaster" Target="../slideMasters/slideMaster18.xml"/><Relationship Id="rId14" Type="http://schemas.openxmlformats.org/officeDocument/2006/relationships/image" Target="../media/image3.emf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79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4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9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80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55.bin"/></Relationships>
</file>

<file path=ppt/slideLayouts/_rels/slideLayout2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2.xml"/><Relationship Id="rId7" Type="http://schemas.openxmlformats.org/officeDocument/2006/relationships/oleObject" Target="../embeddings/oleObject56.bin"/><Relationship Id="rId2" Type="http://schemas.openxmlformats.org/officeDocument/2006/relationships/tags" Target="../tags/tag81.xml"/><Relationship Id="rId1" Type="http://schemas.openxmlformats.org/officeDocument/2006/relationships/vmlDrawing" Target="../drawings/vmlDrawing53.vml"/><Relationship Id="rId6" Type="http://schemas.openxmlformats.org/officeDocument/2006/relationships/slideMaster" Target="../slideMasters/slideMaster19.xml"/><Relationship Id="rId5" Type="http://schemas.openxmlformats.org/officeDocument/2006/relationships/tags" Target="../tags/tag84.xml"/><Relationship Id="rId4" Type="http://schemas.openxmlformats.org/officeDocument/2006/relationships/tags" Target="../tags/tag83.xml"/></Relationships>
</file>

<file path=ppt/slideLayouts/_rels/slideLayout229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oleObject" Target="../embeddings/oleObject58.bin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12" Type="http://schemas.openxmlformats.org/officeDocument/2006/relationships/image" Target="../media/image23.png"/><Relationship Id="rId2" Type="http://schemas.openxmlformats.org/officeDocument/2006/relationships/tags" Target="../tags/tag85.xml"/><Relationship Id="rId1" Type="http://schemas.openxmlformats.org/officeDocument/2006/relationships/vmlDrawing" Target="../drawings/vmlDrawing54.vml"/><Relationship Id="rId6" Type="http://schemas.openxmlformats.org/officeDocument/2006/relationships/tags" Target="../tags/tag89.xml"/><Relationship Id="rId11" Type="http://schemas.openxmlformats.org/officeDocument/2006/relationships/image" Target="../media/image1.emf"/><Relationship Id="rId5" Type="http://schemas.openxmlformats.org/officeDocument/2006/relationships/tags" Target="../tags/tag88.xml"/><Relationship Id="rId10" Type="http://schemas.openxmlformats.org/officeDocument/2006/relationships/oleObject" Target="../embeddings/oleObject57.bin"/><Relationship Id="rId4" Type="http://schemas.openxmlformats.org/officeDocument/2006/relationships/tags" Target="../tags/tag87.xml"/><Relationship Id="rId9" Type="http://schemas.openxmlformats.org/officeDocument/2006/relationships/slideMaster" Target="../slideMasters/slideMaster19.xml"/><Relationship Id="rId1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93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0.bin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0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0.xml"/><Relationship Id="rId7" Type="http://schemas.openxmlformats.org/officeDocument/2006/relationships/image" Target="../media/image7.png"/><Relationship Id="rId2" Type="http://schemas.openxmlformats.org/officeDocument/2006/relationships/tags" Target="../tags/tag94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1.bin"/><Relationship Id="rId4" Type="http://schemas.openxmlformats.org/officeDocument/2006/relationships/image" Target="../media/image6.png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96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3.bin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1.xml"/><Relationship Id="rId7" Type="http://schemas.openxmlformats.org/officeDocument/2006/relationships/image" Target="../media/image7.png"/><Relationship Id="rId2" Type="http://schemas.openxmlformats.org/officeDocument/2006/relationships/tags" Target="../tags/tag97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4.bin"/><Relationship Id="rId4" Type="http://schemas.openxmlformats.org/officeDocument/2006/relationships/image" Target="../media/image6.png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99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6.bin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2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2.xml"/><Relationship Id="rId7" Type="http://schemas.openxmlformats.org/officeDocument/2006/relationships/image" Target="../media/image7.png"/><Relationship Id="rId2" Type="http://schemas.openxmlformats.org/officeDocument/2006/relationships/tags" Target="../tags/tag100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7.bin"/><Relationship Id="rId4" Type="http://schemas.openxmlformats.org/officeDocument/2006/relationships/image" Target="../media/image6.png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9.bin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3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3.xml"/><Relationship Id="rId7" Type="http://schemas.openxmlformats.org/officeDocument/2006/relationships/image" Target="../media/image7.png"/><Relationship Id="rId2" Type="http://schemas.openxmlformats.org/officeDocument/2006/relationships/tags" Target="../tags/tag103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0.bin"/><Relationship Id="rId4" Type="http://schemas.openxmlformats.org/officeDocument/2006/relationships/image" Target="../media/image6.png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2.bin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.bin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4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4.xml"/><Relationship Id="rId7" Type="http://schemas.openxmlformats.org/officeDocument/2006/relationships/image" Target="../media/image7.png"/><Relationship Id="rId2" Type="http://schemas.openxmlformats.org/officeDocument/2006/relationships/tags" Target="../tags/tag106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3.bin"/><Relationship Id="rId4" Type="http://schemas.openxmlformats.org/officeDocument/2006/relationships/image" Target="../media/image6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5.bin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5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5.xml"/><Relationship Id="rId7" Type="http://schemas.openxmlformats.org/officeDocument/2006/relationships/image" Target="../media/image7.png"/><Relationship Id="rId2" Type="http://schemas.openxmlformats.org/officeDocument/2006/relationships/tags" Target="../tags/tag109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6.bin"/><Relationship Id="rId4" Type="http://schemas.openxmlformats.org/officeDocument/2006/relationships/image" Target="../media/image6.png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8.bin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6.xml"/><Relationship Id="rId7" Type="http://schemas.openxmlformats.org/officeDocument/2006/relationships/image" Target="../media/image7.png"/><Relationship Id="rId2" Type="http://schemas.openxmlformats.org/officeDocument/2006/relationships/tags" Target="../tags/tag112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9.bin"/><Relationship Id="rId4" Type="http://schemas.openxmlformats.org/officeDocument/2006/relationships/image" Target="../media/image6.png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1.bin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7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7.xml"/><Relationship Id="rId7" Type="http://schemas.openxmlformats.org/officeDocument/2006/relationships/image" Target="../media/image7.png"/><Relationship Id="rId2" Type="http://schemas.openxmlformats.org/officeDocument/2006/relationships/tags" Target="../tags/tag115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2.bin"/><Relationship Id="rId4" Type="http://schemas.openxmlformats.org/officeDocument/2006/relationships/image" Target="../media/image6.png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8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84.bin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8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86.bin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9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7.bin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7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6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12811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25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A0C6CBA3-07E0-4E5A-9CBC-84DDD6F62137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6530476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r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0" y="0"/>
            <a:ext cx="7952787" cy="763011"/>
          </a:xfrm>
        </p:spPr>
        <p:txBody>
          <a:bodyPr anchor="ctr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8"/>
          <p:cNvSpPr>
            <a:spLocks noGrp="1" noChangeArrowheads="1"/>
          </p:cNvSpPr>
          <p:nvPr>
            <p:ph type="ftr" sz="quarter" idx="10"/>
          </p:nvPr>
        </p:nvSpPr>
        <p:spPr>
          <a:xfrm>
            <a:off x="5076825" y="6421212"/>
            <a:ext cx="2895600" cy="238125"/>
          </a:xfrm>
          <a:prstGeom prst="rect">
            <a:avLst/>
          </a:prstGeom>
          <a:ln/>
        </p:spPr>
        <p:txBody>
          <a:bodyPr anchor="ctr"/>
          <a:lstStyle>
            <a:lvl1pPr>
              <a:defRPr sz="1400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444492"/>
              </a:solidFill>
              <a:latin typeface="Arial"/>
            </a:endParaRPr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188958-8517-4D7A-AE47-DFA241C8D41C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618056" y="763010"/>
            <a:ext cx="7946636" cy="0"/>
            <a:chOff x="618056" y="1259571"/>
            <a:chExt cx="7946636" cy="0"/>
          </a:xfrm>
        </p:grpSpPr>
        <p:cxnSp>
          <p:nvCxnSpPr>
            <p:cNvPr id="7" name="Connecteur droit 6"/>
            <p:cNvCxnSpPr/>
            <p:nvPr userDrawn="1"/>
          </p:nvCxnSpPr>
          <p:spPr>
            <a:xfrm>
              <a:off x="618056" y="1259571"/>
              <a:ext cx="2670151" cy="0"/>
            </a:xfrm>
            <a:prstGeom prst="line">
              <a:avLst/>
            </a:prstGeom>
            <a:ln w="22225">
              <a:solidFill>
                <a:srgbClr val="BCA36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8"/>
            <p:cNvCxnSpPr/>
            <p:nvPr userDrawn="1"/>
          </p:nvCxnSpPr>
          <p:spPr>
            <a:xfrm>
              <a:off x="5900692" y="1259571"/>
              <a:ext cx="2664000" cy="0"/>
            </a:xfrm>
            <a:prstGeom prst="line">
              <a:avLst/>
            </a:prstGeom>
            <a:ln w="22225">
              <a:solidFill>
                <a:srgbClr val="AEB41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necteur droit 7"/>
            <p:cNvCxnSpPr/>
            <p:nvPr userDrawn="1"/>
          </p:nvCxnSpPr>
          <p:spPr>
            <a:xfrm>
              <a:off x="3279316" y="1259571"/>
              <a:ext cx="2628000" cy="0"/>
            </a:xfrm>
            <a:prstGeom prst="line">
              <a:avLst/>
            </a:prstGeom>
            <a:ln w="22225">
              <a:solidFill>
                <a:srgbClr val="34398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" name="Connecteur droit 11"/>
          <p:cNvCxnSpPr/>
          <p:nvPr userDrawn="1"/>
        </p:nvCxnSpPr>
        <p:spPr>
          <a:xfrm>
            <a:off x="636224" y="6237298"/>
            <a:ext cx="7920000" cy="0"/>
          </a:xfrm>
          <a:prstGeom prst="line">
            <a:avLst/>
          </a:prstGeom>
          <a:ln w="6350">
            <a:solidFill>
              <a:srgbClr val="2B2A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12775" y="6083300"/>
            <a:ext cx="7943850" cy="153988"/>
          </a:xfrm>
        </p:spPr>
        <p:txBody>
          <a:bodyPr anchor="b"/>
          <a:lstStyle>
            <a:lvl1pPr marL="90487" indent="0">
              <a:buNone/>
              <a:defRPr sz="800">
                <a:solidFill>
                  <a:srgbClr val="989898"/>
                </a:solidFill>
              </a:defRPr>
            </a:lvl1pPr>
            <a:lvl2pPr marL="457200" indent="0">
              <a:buNone/>
              <a:defRPr sz="800">
                <a:solidFill>
                  <a:srgbClr val="989898"/>
                </a:solidFill>
              </a:defRPr>
            </a:lvl2pPr>
            <a:lvl3pPr marL="914400" indent="0">
              <a:buNone/>
              <a:defRPr sz="800">
                <a:solidFill>
                  <a:srgbClr val="989898"/>
                </a:solidFill>
              </a:defRPr>
            </a:lvl3pPr>
            <a:lvl4pPr marL="1371600" indent="0">
              <a:buNone/>
              <a:defRPr sz="800">
                <a:solidFill>
                  <a:srgbClr val="989898"/>
                </a:solidFill>
              </a:defRPr>
            </a:lvl4pPr>
            <a:lvl5pPr marL="1828800" indent="0">
              <a:buNone/>
              <a:defRPr sz="800">
                <a:solidFill>
                  <a:srgbClr val="989898"/>
                </a:solidFill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96395929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19124" y="455613"/>
            <a:ext cx="8407855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b" anchorCtr="0" compatLnSpc="1">
            <a:prstTxWarp prst="textNoShape">
              <a:avLst/>
            </a:prstTxWarp>
            <a:noAutofit/>
          </a:bodyPr>
          <a:lstStyle>
            <a:lvl1pPr>
              <a:defRPr sz="2400"/>
            </a:lvl1pPr>
          </a:lstStyle>
          <a:p>
            <a:pPr lvl="0"/>
            <a:r>
              <a:rPr lang="en-US" dirty="0"/>
              <a:t>Click to Enter Page Title</a:t>
            </a: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11188" y="1350963"/>
            <a:ext cx="7956000" cy="46008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600"/>
            </a:lvl1pPr>
            <a:lvl2pPr>
              <a:spcBef>
                <a:spcPts val="0"/>
              </a:spcBef>
              <a:defRPr sz="1600"/>
            </a:lvl2pPr>
            <a:lvl3pPr>
              <a:spcBef>
                <a:spcPts val="0"/>
              </a:spcBef>
              <a:defRPr sz="1600"/>
            </a:lvl3pPr>
            <a:lvl4pPr>
              <a:spcBef>
                <a:spcPts val="0"/>
              </a:spcBef>
              <a:defRPr sz="1600"/>
            </a:lvl4pPr>
            <a:lvl5pPr>
              <a:spcBef>
                <a:spcPts val="0"/>
              </a:spcBef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11188" y="6040540"/>
            <a:ext cx="7956000" cy="22263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015583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re et contenu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7203461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88" name="think-cell Folie" r:id="rId5" imgW="499" imgH="499" progId="TCLayout.ActiveDocument.1">
                  <p:embed/>
                </p:oleObj>
              </mc:Choice>
              <mc:Fallback>
                <p:oleObj name="think-cell Folie" r:id="rId5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rme libre : forme 18"/>
          <p:cNvSpPr>
            <a:spLocks/>
          </p:cNvSpPr>
          <p:nvPr userDrawn="1"/>
        </p:nvSpPr>
        <p:spPr bwMode="auto">
          <a:xfrm>
            <a:off x="939869" y="381188"/>
            <a:ext cx="5792373" cy="838200"/>
          </a:xfrm>
          <a:custGeom>
            <a:avLst/>
            <a:gdLst>
              <a:gd name="connsiteX0" fmla="*/ 307975 w 5792373"/>
              <a:gd name="connsiteY0" fmla="*/ 0 h 628650"/>
              <a:gd name="connsiteX1" fmla="*/ 5792373 w 5792373"/>
              <a:gd name="connsiteY1" fmla="*/ 0 h 628650"/>
              <a:gd name="connsiteX2" fmla="*/ 5792373 w 5792373"/>
              <a:gd name="connsiteY2" fmla="*/ 628650 h 628650"/>
              <a:gd name="connsiteX3" fmla="*/ 0 w 5792373"/>
              <a:gd name="connsiteY3" fmla="*/ 628650 h 628650"/>
              <a:gd name="connsiteX4" fmla="*/ 69850 w 5792373"/>
              <a:gd name="connsiteY4" fmla="*/ 466725 h 628650"/>
              <a:gd name="connsiteX5" fmla="*/ 142875 w 5792373"/>
              <a:gd name="connsiteY5" fmla="*/ 307975 h 628650"/>
              <a:gd name="connsiteX6" fmla="*/ 222250 w 5792373"/>
              <a:gd name="connsiteY6" fmla="*/ 152400 h 628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92373" h="628650">
                <a:moveTo>
                  <a:pt x="307975" y="0"/>
                </a:moveTo>
                <a:lnTo>
                  <a:pt x="5792373" y="0"/>
                </a:lnTo>
                <a:lnTo>
                  <a:pt x="5792373" y="628650"/>
                </a:lnTo>
                <a:lnTo>
                  <a:pt x="0" y="628650"/>
                </a:lnTo>
                <a:lnTo>
                  <a:pt x="69850" y="466725"/>
                </a:lnTo>
                <a:lnTo>
                  <a:pt x="142875" y="307975"/>
                </a:lnTo>
                <a:lnTo>
                  <a:pt x="222250" y="152400"/>
                </a:lnTo>
                <a:close/>
              </a:path>
            </a:pathLst>
          </a:custGeom>
          <a:solidFill>
            <a:srgbClr val="CFB28B">
              <a:alpha val="8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444492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259633" y="356658"/>
            <a:ext cx="5472609" cy="864097"/>
          </a:xfrm>
        </p:spPr>
        <p:txBody>
          <a:bodyPr/>
          <a:lstStyle>
            <a:lvl1pPr algn="l">
              <a:defRPr cap="all" baseline="0"/>
            </a:lvl1pPr>
          </a:lstStyle>
          <a:p>
            <a:r>
              <a:rPr lang="en-US" dirty="0"/>
              <a:t>MODIFIEZ LE STYLE DU T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3784BD-AEF4-4952-A313-2EBF09C498B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980"/>
          <a:stretch/>
        </p:blipFill>
        <p:spPr>
          <a:xfrm>
            <a:off x="7054955" y="284649"/>
            <a:ext cx="1722290" cy="1008112"/>
          </a:xfrm>
          <a:prstGeom prst="rect">
            <a:avLst/>
          </a:prstGeom>
        </p:spPr>
      </p:pic>
      <p:pic>
        <p:nvPicPr>
          <p:cNvPr id="9" name="Image 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9574" y="6173081"/>
            <a:ext cx="564852" cy="642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95350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Obraz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9" name="Obraz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116632"/>
            <a:ext cx="9144000" cy="6858000"/>
          </a:xfrm>
          <a:prstGeom prst="rect">
            <a:avLst/>
          </a:prstGeom>
        </p:spPr>
      </p:pic>
      <p:sp>
        <p:nvSpPr>
          <p:cNvPr id="8" name="Prostokąt 7"/>
          <p:cNvSpPr/>
          <p:nvPr userDrawn="1"/>
        </p:nvSpPr>
        <p:spPr>
          <a:xfrm>
            <a:off x="467552" y="116632"/>
            <a:ext cx="8208911" cy="720080"/>
          </a:xfrm>
          <a:prstGeom prst="rect">
            <a:avLst/>
          </a:prstGeom>
          <a:solidFill>
            <a:srgbClr val="333399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5" tIns="45713" rIns="91425" bIns="45713" rtlCol="0" anchor="ctr"/>
          <a:lstStyle/>
          <a:p>
            <a:pPr algn="ctr">
              <a:tabLst>
                <a:tab pos="1347581" algn="l"/>
              </a:tabLs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3" y="116632"/>
            <a:ext cx="8229600" cy="720080"/>
          </a:xfrm>
        </p:spPr>
        <p:txBody>
          <a:bodyPr>
            <a:normAutofit/>
          </a:bodyPr>
          <a:lstStyle>
            <a:lvl1pPr>
              <a:defRPr sz="2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smtClean="0"/>
              <a:t>Kliknij, aby edytować styl</a:t>
            </a:r>
            <a:endParaRPr lang="en-GB" noProof="0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3" y="1052744"/>
            <a:ext cx="8229600" cy="5073427"/>
          </a:xfrm>
        </p:spPr>
        <p:txBody>
          <a:bodyPr/>
          <a:lstStyle>
            <a:lvl1pPr marL="342848" indent="-342848">
              <a:buFont typeface="Wingdings" pitchFamily="2" charset="2"/>
              <a:buChar char="§"/>
              <a:defRPr sz="2400" b="1">
                <a:solidFill>
                  <a:srgbClr val="333399"/>
                </a:solidFill>
                <a:latin typeface="+mj-lt"/>
                <a:cs typeface="Arial" pitchFamily="34" charset="0"/>
              </a:defRPr>
            </a:lvl1pPr>
            <a:lvl2pPr>
              <a:defRPr sz="2000" b="1">
                <a:solidFill>
                  <a:srgbClr val="333399"/>
                </a:solidFill>
                <a:latin typeface="+mj-lt"/>
                <a:cs typeface="Arial" pitchFamily="34" charset="0"/>
              </a:defRPr>
            </a:lvl2pPr>
            <a:lvl3pPr>
              <a:defRPr sz="1800" b="1">
                <a:solidFill>
                  <a:srgbClr val="333399"/>
                </a:solidFill>
                <a:latin typeface="+mj-lt"/>
                <a:cs typeface="Arial" pitchFamily="34" charset="0"/>
              </a:defRPr>
            </a:lvl3pPr>
            <a:lvl4pPr>
              <a:defRPr sz="1600" b="1">
                <a:solidFill>
                  <a:srgbClr val="333399"/>
                </a:solidFill>
                <a:latin typeface="+mj-lt"/>
                <a:cs typeface="Arial" pitchFamily="34" charset="0"/>
              </a:defRPr>
            </a:lvl4pPr>
            <a:lvl5pPr>
              <a:defRPr sz="1600" b="1">
                <a:solidFill>
                  <a:srgbClr val="333399"/>
                </a:solidFill>
                <a:latin typeface="+mj-lt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Kliknij, aby edytować style wzorca tekstu</a:t>
            </a:r>
          </a:p>
          <a:p>
            <a:pPr lvl="1"/>
            <a:r>
              <a:rPr lang="en-US" noProof="0" smtClean="0"/>
              <a:t>Drugi poziom</a:t>
            </a:r>
          </a:p>
          <a:p>
            <a:pPr lvl="2"/>
            <a:r>
              <a:rPr lang="en-US" noProof="0" smtClean="0"/>
              <a:t>Trzeci poziom</a:t>
            </a:r>
          </a:p>
          <a:p>
            <a:pPr lvl="3"/>
            <a:r>
              <a:rPr lang="en-US" noProof="0" smtClean="0"/>
              <a:t>Czwarty poziom</a:t>
            </a:r>
          </a:p>
          <a:p>
            <a:pPr lvl="4"/>
            <a:r>
              <a:rPr lang="en-US" noProof="0" smtClean="0"/>
              <a:t>Piąty poziom</a:t>
            </a:r>
            <a:endParaRPr lang="en-US" noProof="0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>
          <a:xfrm>
            <a:off x="3124201" y="6356367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l-P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39D9E2-EFCA-452D-A1FC-E214D77FED2D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l-PL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1305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88848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3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A0C6CBA3-07E0-4E5A-9CBC-84DDD6F62137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2783632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7571" y="0"/>
            <a:ext cx="8545484" cy="841375"/>
          </a:xfrm>
        </p:spPr>
        <p:txBody>
          <a:bodyPr/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07571" y="1321723"/>
            <a:ext cx="4173942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6815" y="1321723"/>
            <a:ext cx="4206240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CA6D8E2-A421-439A-9542-C7671204AF4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252486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8" y="0"/>
            <a:ext cx="8537171" cy="84137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82E74FB-98A9-4760-AAB1-CA40FB5892D0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7230489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E535B98-BEBB-425D-BC8E-307821EDBAC0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3165958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age dégag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557213"/>
            <a:ext cx="9144000" cy="7318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96E64F78-AC8F-42E3-9C77-64ECDFE42C1E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3593926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>
  <p:cSld name="Titre et texte sur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2633" y="0"/>
            <a:ext cx="8613660" cy="847898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282633" y="1246909"/>
            <a:ext cx="8613660" cy="2326554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82633" y="3763052"/>
            <a:ext cx="8613660" cy="232821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358401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9" y="0"/>
            <a:ext cx="8553796" cy="90011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299259" y="1350963"/>
            <a:ext cx="8553796" cy="4758892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194810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19124" y="455613"/>
            <a:ext cx="8407855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b" anchorCtr="0" compatLnSpc="1">
            <a:prstTxWarp prst="textNoShape">
              <a:avLst/>
            </a:prstTxWarp>
            <a:noAutofit/>
          </a:bodyPr>
          <a:lstStyle>
            <a:lvl1pPr>
              <a:defRPr sz="2400"/>
            </a:lvl1pPr>
          </a:lstStyle>
          <a:p>
            <a:pPr lvl="0"/>
            <a:r>
              <a:rPr lang="en-US" dirty="0"/>
              <a:t>Click to Enter Page Title</a:t>
            </a: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11188" y="1350963"/>
            <a:ext cx="7956000" cy="46008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600"/>
            </a:lvl1pPr>
            <a:lvl2pPr>
              <a:spcBef>
                <a:spcPts val="0"/>
              </a:spcBef>
              <a:defRPr sz="1600"/>
            </a:lvl2pPr>
            <a:lvl3pPr>
              <a:spcBef>
                <a:spcPts val="0"/>
              </a:spcBef>
              <a:defRPr sz="1600"/>
            </a:lvl3pPr>
            <a:lvl4pPr>
              <a:spcBef>
                <a:spcPts val="0"/>
              </a:spcBef>
              <a:defRPr sz="1600"/>
            </a:lvl4pPr>
            <a:lvl5pPr>
              <a:spcBef>
                <a:spcPts val="0"/>
              </a:spcBef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11188" y="6040540"/>
            <a:ext cx="7956000" cy="22263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8808941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9" descr="fond_150dpi_bleu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>
            <a:fillRect/>
          </a:stretch>
        </p:blipFill>
        <p:spPr bwMode="auto">
          <a:xfrm>
            <a:off x="0" y="0"/>
            <a:ext cx="9144000" cy="6275388"/>
          </a:xfrm>
          <a:prstGeom prst="rect">
            <a:avLst/>
          </a:prstGeom>
          <a:solidFill>
            <a:srgbClr val="45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8" y="2176463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u titr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es sous-titres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E7423CB-C39B-46B7-9A76-B744759BC04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0496228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 userDrawn="1"/>
        </p:nvSpPr>
        <p:spPr bwMode="auto">
          <a:xfrm>
            <a:off x="0" y="0"/>
            <a:ext cx="9144000" cy="6318250"/>
          </a:xfrm>
          <a:prstGeom prst="rect">
            <a:avLst/>
          </a:prstGeom>
          <a:solidFill>
            <a:srgbClr val="44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4400" eaLnBrk="1" hangingPunct="1"/>
            <a:endParaRPr lang="en-US" dirty="0">
              <a:solidFill>
                <a:srgbClr val="444492"/>
              </a:solidFill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CA6FA23-9279-480B-970E-FA3CDB694608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2027154"/>
      </p:ext>
    </p:extLst>
  </p:cSld>
  <p:clrMapOvr>
    <a:masterClrMapping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r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0" y="0"/>
            <a:ext cx="7952787" cy="763011"/>
          </a:xfrm>
        </p:spPr>
        <p:txBody>
          <a:bodyPr anchor="ctr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8"/>
          <p:cNvSpPr>
            <a:spLocks noGrp="1" noChangeArrowheads="1"/>
          </p:cNvSpPr>
          <p:nvPr>
            <p:ph type="ftr" sz="quarter" idx="10"/>
          </p:nvPr>
        </p:nvSpPr>
        <p:spPr>
          <a:xfrm>
            <a:off x="5076825" y="6421212"/>
            <a:ext cx="2895600" cy="238125"/>
          </a:xfrm>
          <a:prstGeom prst="rect">
            <a:avLst/>
          </a:prstGeom>
          <a:ln/>
        </p:spPr>
        <p:txBody>
          <a:bodyPr anchor="ctr"/>
          <a:lstStyle>
            <a:lvl1pPr>
              <a:defRPr sz="1400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444492"/>
              </a:solidFill>
              <a:latin typeface="Arial"/>
            </a:endParaRPr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188958-8517-4D7A-AE47-DFA241C8D41C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618056" y="763010"/>
            <a:ext cx="7946636" cy="0"/>
            <a:chOff x="618056" y="1259571"/>
            <a:chExt cx="7946636" cy="0"/>
          </a:xfrm>
        </p:grpSpPr>
        <p:cxnSp>
          <p:nvCxnSpPr>
            <p:cNvPr id="7" name="Connecteur droit 6"/>
            <p:cNvCxnSpPr/>
            <p:nvPr userDrawn="1"/>
          </p:nvCxnSpPr>
          <p:spPr>
            <a:xfrm>
              <a:off x="618056" y="1259571"/>
              <a:ext cx="2670151" cy="0"/>
            </a:xfrm>
            <a:prstGeom prst="line">
              <a:avLst/>
            </a:prstGeom>
            <a:ln w="22225">
              <a:solidFill>
                <a:srgbClr val="BCA36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8"/>
            <p:cNvCxnSpPr/>
            <p:nvPr userDrawn="1"/>
          </p:nvCxnSpPr>
          <p:spPr>
            <a:xfrm>
              <a:off x="5900692" y="1259571"/>
              <a:ext cx="2664000" cy="0"/>
            </a:xfrm>
            <a:prstGeom prst="line">
              <a:avLst/>
            </a:prstGeom>
            <a:ln w="22225">
              <a:solidFill>
                <a:srgbClr val="AEB41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necteur droit 7"/>
            <p:cNvCxnSpPr/>
            <p:nvPr userDrawn="1"/>
          </p:nvCxnSpPr>
          <p:spPr>
            <a:xfrm>
              <a:off x="3279316" y="1259571"/>
              <a:ext cx="2628000" cy="0"/>
            </a:xfrm>
            <a:prstGeom prst="line">
              <a:avLst/>
            </a:prstGeom>
            <a:ln w="22225">
              <a:solidFill>
                <a:srgbClr val="34398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" name="Connecteur droit 11"/>
          <p:cNvCxnSpPr/>
          <p:nvPr userDrawn="1"/>
        </p:nvCxnSpPr>
        <p:spPr>
          <a:xfrm>
            <a:off x="636224" y="6237298"/>
            <a:ext cx="7920000" cy="0"/>
          </a:xfrm>
          <a:prstGeom prst="line">
            <a:avLst/>
          </a:prstGeom>
          <a:ln w="6350">
            <a:solidFill>
              <a:srgbClr val="2B2A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12775" y="6083300"/>
            <a:ext cx="7943850" cy="153988"/>
          </a:xfrm>
        </p:spPr>
        <p:txBody>
          <a:bodyPr anchor="b"/>
          <a:lstStyle>
            <a:lvl1pPr marL="90487" indent="0">
              <a:buNone/>
              <a:defRPr sz="800">
                <a:solidFill>
                  <a:srgbClr val="989898"/>
                </a:solidFill>
              </a:defRPr>
            </a:lvl1pPr>
            <a:lvl2pPr marL="457200" indent="0">
              <a:buNone/>
              <a:defRPr sz="800">
                <a:solidFill>
                  <a:srgbClr val="989898"/>
                </a:solidFill>
              </a:defRPr>
            </a:lvl2pPr>
            <a:lvl3pPr marL="914400" indent="0">
              <a:buNone/>
              <a:defRPr sz="800">
                <a:solidFill>
                  <a:srgbClr val="989898"/>
                </a:solidFill>
              </a:defRPr>
            </a:lvl3pPr>
            <a:lvl4pPr marL="1371600" indent="0">
              <a:buNone/>
              <a:defRPr sz="800">
                <a:solidFill>
                  <a:srgbClr val="989898"/>
                </a:solidFill>
              </a:defRPr>
            </a:lvl4pPr>
            <a:lvl5pPr marL="1828800" indent="0">
              <a:buNone/>
              <a:defRPr sz="800">
                <a:solidFill>
                  <a:srgbClr val="989898"/>
                </a:solidFill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52977121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19124" y="455613"/>
            <a:ext cx="8407855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b" anchorCtr="0" compatLnSpc="1">
            <a:prstTxWarp prst="textNoShape">
              <a:avLst/>
            </a:prstTxWarp>
            <a:noAutofit/>
          </a:bodyPr>
          <a:lstStyle>
            <a:lvl1pPr>
              <a:defRPr sz="2400"/>
            </a:lvl1pPr>
          </a:lstStyle>
          <a:p>
            <a:pPr lvl="0"/>
            <a:r>
              <a:rPr lang="en-US" dirty="0"/>
              <a:t>Click to Enter Page Title</a:t>
            </a: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11188" y="1350963"/>
            <a:ext cx="7956000" cy="46008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600"/>
            </a:lvl1pPr>
            <a:lvl2pPr>
              <a:spcBef>
                <a:spcPts val="0"/>
              </a:spcBef>
              <a:defRPr sz="1600"/>
            </a:lvl2pPr>
            <a:lvl3pPr>
              <a:spcBef>
                <a:spcPts val="0"/>
              </a:spcBef>
              <a:defRPr sz="1600"/>
            </a:lvl3pPr>
            <a:lvl4pPr>
              <a:spcBef>
                <a:spcPts val="0"/>
              </a:spcBef>
              <a:defRPr sz="1600"/>
            </a:lvl4pPr>
            <a:lvl5pPr>
              <a:spcBef>
                <a:spcPts val="0"/>
              </a:spcBef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11188" y="6040540"/>
            <a:ext cx="7956000" cy="22263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7623118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re et contenu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18552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0" name="think-cell Folie" r:id="rId5" imgW="499" imgH="499" progId="TCLayout.ActiveDocument.1">
                  <p:embed/>
                </p:oleObj>
              </mc:Choice>
              <mc:Fallback>
                <p:oleObj name="think-cell Folie" r:id="rId5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rme libre : forme 18"/>
          <p:cNvSpPr>
            <a:spLocks/>
          </p:cNvSpPr>
          <p:nvPr userDrawn="1"/>
        </p:nvSpPr>
        <p:spPr bwMode="auto">
          <a:xfrm>
            <a:off x="939869" y="381188"/>
            <a:ext cx="5792373" cy="838200"/>
          </a:xfrm>
          <a:custGeom>
            <a:avLst/>
            <a:gdLst>
              <a:gd name="connsiteX0" fmla="*/ 307975 w 5792373"/>
              <a:gd name="connsiteY0" fmla="*/ 0 h 628650"/>
              <a:gd name="connsiteX1" fmla="*/ 5792373 w 5792373"/>
              <a:gd name="connsiteY1" fmla="*/ 0 h 628650"/>
              <a:gd name="connsiteX2" fmla="*/ 5792373 w 5792373"/>
              <a:gd name="connsiteY2" fmla="*/ 628650 h 628650"/>
              <a:gd name="connsiteX3" fmla="*/ 0 w 5792373"/>
              <a:gd name="connsiteY3" fmla="*/ 628650 h 628650"/>
              <a:gd name="connsiteX4" fmla="*/ 69850 w 5792373"/>
              <a:gd name="connsiteY4" fmla="*/ 466725 h 628650"/>
              <a:gd name="connsiteX5" fmla="*/ 142875 w 5792373"/>
              <a:gd name="connsiteY5" fmla="*/ 307975 h 628650"/>
              <a:gd name="connsiteX6" fmla="*/ 222250 w 5792373"/>
              <a:gd name="connsiteY6" fmla="*/ 152400 h 628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92373" h="628650">
                <a:moveTo>
                  <a:pt x="307975" y="0"/>
                </a:moveTo>
                <a:lnTo>
                  <a:pt x="5792373" y="0"/>
                </a:lnTo>
                <a:lnTo>
                  <a:pt x="5792373" y="628650"/>
                </a:lnTo>
                <a:lnTo>
                  <a:pt x="0" y="628650"/>
                </a:lnTo>
                <a:lnTo>
                  <a:pt x="69850" y="466725"/>
                </a:lnTo>
                <a:lnTo>
                  <a:pt x="142875" y="307975"/>
                </a:lnTo>
                <a:lnTo>
                  <a:pt x="222250" y="152400"/>
                </a:lnTo>
                <a:close/>
              </a:path>
            </a:pathLst>
          </a:custGeom>
          <a:solidFill>
            <a:srgbClr val="CFB28B">
              <a:alpha val="8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444492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259633" y="356658"/>
            <a:ext cx="5472609" cy="864097"/>
          </a:xfrm>
        </p:spPr>
        <p:txBody>
          <a:bodyPr/>
          <a:lstStyle>
            <a:lvl1pPr algn="l">
              <a:defRPr cap="all" baseline="0"/>
            </a:lvl1pPr>
          </a:lstStyle>
          <a:p>
            <a:r>
              <a:rPr lang="en-US" dirty="0"/>
              <a:t>MODIFIEZ LE STYLE DU T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3784BD-AEF4-4952-A313-2EBF09C498B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980"/>
          <a:stretch/>
        </p:blipFill>
        <p:spPr>
          <a:xfrm>
            <a:off x="7054955" y="284649"/>
            <a:ext cx="1722290" cy="1008112"/>
          </a:xfrm>
          <a:prstGeom prst="rect">
            <a:avLst/>
          </a:prstGeom>
        </p:spPr>
      </p:pic>
      <p:pic>
        <p:nvPicPr>
          <p:cNvPr id="9" name="Image 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9574" y="6173081"/>
            <a:ext cx="564852" cy="642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170014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3" y="284163"/>
            <a:ext cx="7939087" cy="841375"/>
          </a:xfrm>
        </p:spPr>
        <p:txBody>
          <a:bodyPr/>
          <a:lstStyle/>
          <a:p>
            <a:r>
              <a:rPr lang="en-US" noProof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27063" y="1390650"/>
            <a:ext cx="7939087" cy="4248150"/>
          </a:xfrm>
        </p:spPr>
        <p:txBody>
          <a:bodyPr/>
          <a:lstStyle/>
          <a:p>
            <a:pPr lvl="0"/>
            <a:r>
              <a:rPr lang="en-US" noProof="0" dirty="0" err="1"/>
              <a:t>Modifiez</a:t>
            </a:r>
            <a:r>
              <a:rPr lang="en-US" noProof="0" dirty="0"/>
              <a:t>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Quatr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4"/>
            <a:r>
              <a:rPr lang="en-US" noProof="0" dirty="0" err="1"/>
              <a:t>Cinqu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0"/>
          </p:nvPr>
        </p:nvSpPr>
        <p:spPr>
          <a:xfrm>
            <a:off x="5203825" y="6427788"/>
            <a:ext cx="2895600" cy="238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444492"/>
                </a:solidFill>
              </a:rPr>
              <a:t>BD Asia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</a:t>
            </a:r>
            <a:r>
              <a:rPr lang="en-US" sz="900" baseline="16000" dirty="0"/>
              <a:t>         </a:t>
            </a:r>
            <a:fld id="{2055171F-CD83-4488-84E0-4CA1E5B3EB1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2119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/>
              <a:t>|</a:t>
            </a:r>
            <a:r>
              <a:rPr lang="en-US" sz="900" baseline="16000"/>
              <a:t>        </a:t>
            </a:r>
            <a:fld id="{A0C6CBA3-07E0-4E5A-9CBC-84DDD6F62137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8482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7571" y="0"/>
            <a:ext cx="8545484" cy="841375"/>
          </a:xfrm>
        </p:spPr>
        <p:txBody>
          <a:bodyPr/>
          <a:lstStyle>
            <a:lvl1pPr>
              <a:defRPr sz="24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07571" y="1321723"/>
            <a:ext cx="4173942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6815" y="1321723"/>
            <a:ext cx="4206240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/>
              <a:t>|</a:t>
            </a:r>
            <a:r>
              <a:rPr lang="en-US" sz="900" baseline="16000"/>
              <a:t>        </a:t>
            </a:r>
            <a:fld id="{CCA6D8E2-A421-439A-9542-C7671204AF4F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06202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12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4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8" y="0"/>
            <a:ext cx="8537171" cy="84137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/>
              <a:t>|</a:t>
            </a:r>
            <a:r>
              <a:rPr lang="en-US" sz="900" baseline="16000"/>
              <a:t>        </a:t>
            </a:r>
            <a:fld id="{182E74FB-98A9-4760-AAB1-CA40FB5892D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5029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/>
              <a:t>|</a:t>
            </a:r>
            <a:r>
              <a:rPr lang="en-US" sz="900" baseline="16000"/>
              <a:t>        </a:t>
            </a:r>
            <a:fld id="{1E535B98-BEBB-425D-BC8E-307821EDBAC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79263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re et contenu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1010708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28" name="think-cell Folie" r:id="rId5" imgW="499" imgH="499" progId="TCLayout.ActiveDocument.1">
                  <p:embed/>
                </p:oleObj>
              </mc:Choice>
              <mc:Fallback>
                <p:oleObj name="think-cell Folie" r:id="rId5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rme libre : forme 18"/>
          <p:cNvSpPr>
            <a:spLocks/>
          </p:cNvSpPr>
          <p:nvPr userDrawn="1"/>
        </p:nvSpPr>
        <p:spPr bwMode="auto">
          <a:xfrm>
            <a:off x="939869" y="381188"/>
            <a:ext cx="5792373" cy="838200"/>
          </a:xfrm>
          <a:custGeom>
            <a:avLst/>
            <a:gdLst>
              <a:gd name="connsiteX0" fmla="*/ 307975 w 5792373"/>
              <a:gd name="connsiteY0" fmla="*/ 0 h 628650"/>
              <a:gd name="connsiteX1" fmla="*/ 5792373 w 5792373"/>
              <a:gd name="connsiteY1" fmla="*/ 0 h 628650"/>
              <a:gd name="connsiteX2" fmla="*/ 5792373 w 5792373"/>
              <a:gd name="connsiteY2" fmla="*/ 628650 h 628650"/>
              <a:gd name="connsiteX3" fmla="*/ 0 w 5792373"/>
              <a:gd name="connsiteY3" fmla="*/ 628650 h 628650"/>
              <a:gd name="connsiteX4" fmla="*/ 69850 w 5792373"/>
              <a:gd name="connsiteY4" fmla="*/ 466725 h 628650"/>
              <a:gd name="connsiteX5" fmla="*/ 142875 w 5792373"/>
              <a:gd name="connsiteY5" fmla="*/ 307975 h 628650"/>
              <a:gd name="connsiteX6" fmla="*/ 222250 w 5792373"/>
              <a:gd name="connsiteY6" fmla="*/ 152400 h 628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92373" h="628650">
                <a:moveTo>
                  <a:pt x="307975" y="0"/>
                </a:moveTo>
                <a:lnTo>
                  <a:pt x="5792373" y="0"/>
                </a:lnTo>
                <a:lnTo>
                  <a:pt x="5792373" y="628650"/>
                </a:lnTo>
                <a:lnTo>
                  <a:pt x="0" y="628650"/>
                </a:lnTo>
                <a:lnTo>
                  <a:pt x="69850" y="466725"/>
                </a:lnTo>
                <a:lnTo>
                  <a:pt x="142875" y="307975"/>
                </a:lnTo>
                <a:lnTo>
                  <a:pt x="222250" y="152400"/>
                </a:lnTo>
                <a:close/>
              </a:path>
            </a:pathLst>
          </a:custGeom>
          <a:solidFill>
            <a:srgbClr val="CFB28B">
              <a:alpha val="8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259633" y="356658"/>
            <a:ext cx="5472609" cy="864097"/>
          </a:xfrm>
        </p:spPr>
        <p:txBody>
          <a:bodyPr/>
          <a:lstStyle>
            <a:lvl1pPr algn="l">
              <a:defRPr cap="all" baseline="0"/>
            </a:lvl1pPr>
          </a:lstStyle>
          <a:p>
            <a:r>
              <a:rPr lang="en-US" dirty="0"/>
              <a:t>MODIFIEZ LE STYLE DU T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3784BD-AEF4-4952-A313-2EBF09C498B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980"/>
          <a:stretch/>
        </p:blipFill>
        <p:spPr>
          <a:xfrm>
            <a:off x="7054955" y="284649"/>
            <a:ext cx="1722290" cy="1008112"/>
          </a:xfrm>
          <a:prstGeom prst="rect">
            <a:avLst/>
          </a:prstGeom>
        </p:spPr>
      </p:pic>
      <p:pic>
        <p:nvPicPr>
          <p:cNvPr id="9" name="Image 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9574" y="6173081"/>
            <a:ext cx="564852" cy="642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055366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age dégag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557213"/>
            <a:ext cx="9144000" cy="7318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/>
              <a:t>|</a:t>
            </a:r>
            <a:r>
              <a:rPr lang="en-US" sz="900" baseline="16000"/>
              <a:t>        </a:t>
            </a:r>
            <a:fld id="{96E64F78-AC8F-42E3-9C77-64ECDFE42C1E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60294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>
  <p:cSld name="Titre et texte sur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2633" y="0"/>
            <a:ext cx="8613660" cy="847898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282633" y="1246909"/>
            <a:ext cx="8613660" cy="2326554"/>
          </a:xfrm>
        </p:spPr>
        <p:txBody>
          <a:bodyPr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82633" y="3763052"/>
            <a:ext cx="8613660" cy="2328215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C8A5DD0B-47B8-4FFF-85E0-6207ABAD9D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63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9" y="0"/>
            <a:ext cx="8553796" cy="900113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299259" y="1350963"/>
            <a:ext cx="8553796" cy="4758892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C8A5DD0B-47B8-4FFF-85E0-6207ABAD9D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14225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9" descr="fond_150dpi_bleu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/>
          <a:stretch>
            <a:fillRect/>
          </a:stretch>
        </p:blipFill>
        <p:spPr bwMode="auto">
          <a:xfrm>
            <a:off x="0" y="0"/>
            <a:ext cx="9144000" cy="6275388"/>
          </a:xfrm>
          <a:prstGeom prst="rect">
            <a:avLst/>
          </a:prstGeom>
          <a:solidFill>
            <a:srgbClr val="45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8" y="2176463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quez pour modifier le style du titr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quez pour modifier le style des sous-titres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/>
              <a:t>|</a:t>
            </a:r>
            <a:r>
              <a:rPr lang="en-US" sz="900" baseline="16000"/>
              <a:t>        </a:t>
            </a:r>
            <a:fld id="{8E7423CB-C39B-46B7-9A76-B744759BC04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6075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 userDrawn="1"/>
        </p:nvSpPr>
        <p:spPr bwMode="auto">
          <a:xfrm>
            <a:off x="0" y="0"/>
            <a:ext cx="9144000" cy="6318250"/>
          </a:xfrm>
          <a:prstGeom prst="rect">
            <a:avLst/>
          </a:prstGeom>
          <a:solidFill>
            <a:srgbClr val="44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4400" eaLnBrk="1" hangingPunct="1"/>
            <a:endParaRPr lang="en-US">
              <a:solidFill>
                <a:srgbClr val="444492"/>
              </a:solidFill>
              <a:latin typeface="Arial"/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/>
              <a:t>|</a:t>
            </a:r>
            <a:r>
              <a:rPr lang="en-US" sz="900" baseline="16000"/>
              <a:t>        </a:t>
            </a:r>
            <a:fld id="{8CA6FA23-9279-480B-970E-FA3CDB694608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74619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r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0" y="0"/>
            <a:ext cx="7952787" cy="763011"/>
          </a:xfrm>
        </p:spPr>
        <p:txBody>
          <a:bodyPr anchor="ctr"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28"/>
          <p:cNvSpPr>
            <a:spLocks noGrp="1" noChangeArrowheads="1"/>
          </p:cNvSpPr>
          <p:nvPr>
            <p:ph type="ftr" sz="quarter" idx="10"/>
          </p:nvPr>
        </p:nvSpPr>
        <p:spPr>
          <a:xfrm>
            <a:off x="5076825" y="6421212"/>
            <a:ext cx="2895600" cy="238125"/>
          </a:xfrm>
          <a:prstGeom prst="rect">
            <a:avLst/>
          </a:prstGeom>
          <a:ln/>
        </p:spPr>
        <p:txBody>
          <a:bodyPr anchor="ctr"/>
          <a:lstStyle>
            <a:lvl1pPr>
              <a:defRPr sz="1400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444492"/>
              </a:solidFill>
              <a:latin typeface="Arial"/>
            </a:endParaRPr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188958-8517-4D7A-AE47-DFA241C8D41C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618056" y="763010"/>
            <a:ext cx="7946636" cy="0"/>
            <a:chOff x="618056" y="1259571"/>
            <a:chExt cx="7946636" cy="0"/>
          </a:xfrm>
        </p:grpSpPr>
        <p:cxnSp>
          <p:nvCxnSpPr>
            <p:cNvPr id="7" name="Connecteur droit 6"/>
            <p:cNvCxnSpPr/>
            <p:nvPr userDrawn="1"/>
          </p:nvCxnSpPr>
          <p:spPr>
            <a:xfrm>
              <a:off x="618056" y="1259571"/>
              <a:ext cx="2670151" cy="0"/>
            </a:xfrm>
            <a:prstGeom prst="line">
              <a:avLst/>
            </a:prstGeom>
            <a:ln w="22225">
              <a:solidFill>
                <a:srgbClr val="BCA36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8"/>
            <p:cNvCxnSpPr/>
            <p:nvPr userDrawn="1"/>
          </p:nvCxnSpPr>
          <p:spPr>
            <a:xfrm>
              <a:off x="5900692" y="1259571"/>
              <a:ext cx="2664000" cy="0"/>
            </a:xfrm>
            <a:prstGeom prst="line">
              <a:avLst/>
            </a:prstGeom>
            <a:ln w="22225">
              <a:solidFill>
                <a:srgbClr val="AEB41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necteur droit 7"/>
            <p:cNvCxnSpPr/>
            <p:nvPr userDrawn="1"/>
          </p:nvCxnSpPr>
          <p:spPr>
            <a:xfrm>
              <a:off x="3279316" y="1259571"/>
              <a:ext cx="2628000" cy="0"/>
            </a:xfrm>
            <a:prstGeom prst="line">
              <a:avLst/>
            </a:prstGeom>
            <a:ln w="22225">
              <a:solidFill>
                <a:srgbClr val="34398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" name="Connecteur droit 11"/>
          <p:cNvCxnSpPr/>
          <p:nvPr userDrawn="1"/>
        </p:nvCxnSpPr>
        <p:spPr>
          <a:xfrm>
            <a:off x="636224" y="6237298"/>
            <a:ext cx="7920000" cy="0"/>
          </a:xfrm>
          <a:prstGeom prst="line">
            <a:avLst/>
          </a:prstGeom>
          <a:ln w="6350">
            <a:solidFill>
              <a:srgbClr val="2B2A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12775" y="6083300"/>
            <a:ext cx="7943850" cy="153988"/>
          </a:xfrm>
        </p:spPr>
        <p:txBody>
          <a:bodyPr anchor="b"/>
          <a:lstStyle>
            <a:lvl1pPr marL="90487" indent="0">
              <a:buNone/>
              <a:defRPr sz="800">
                <a:solidFill>
                  <a:srgbClr val="989898"/>
                </a:solidFill>
              </a:defRPr>
            </a:lvl1pPr>
            <a:lvl2pPr marL="457200" indent="0">
              <a:buNone/>
              <a:defRPr sz="800">
                <a:solidFill>
                  <a:srgbClr val="989898"/>
                </a:solidFill>
              </a:defRPr>
            </a:lvl2pPr>
            <a:lvl3pPr marL="914400" indent="0">
              <a:buNone/>
              <a:defRPr sz="800">
                <a:solidFill>
                  <a:srgbClr val="989898"/>
                </a:solidFill>
              </a:defRPr>
            </a:lvl3pPr>
            <a:lvl4pPr marL="1371600" indent="0">
              <a:buNone/>
              <a:defRPr sz="800">
                <a:solidFill>
                  <a:srgbClr val="989898"/>
                </a:solidFill>
              </a:defRPr>
            </a:lvl4pPr>
            <a:lvl5pPr marL="1828800" indent="0">
              <a:buNone/>
              <a:defRPr sz="800">
                <a:solidFill>
                  <a:srgbClr val="989898"/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700794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19124" y="455613"/>
            <a:ext cx="8407855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b" anchorCtr="0" compatLnSpc="1">
            <a:prstTxWarp prst="textNoShape">
              <a:avLst/>
            </a:prstTxWarp>
            <a:noAutofit/>
          </a:bodyPr>
          <a:lstStyle>
            <a:lvl1pPr>
              <a:defRPr sz="2400"/>
            </a:lvl1pPr>
          </a:lstStyle>
          <a:p>
            <a:pPr lvl="0"/>
            <a:r>
              <a:rPr lang="en-US" dirty="0" smtClean="0"/>
              <a:t>Click to Enter Page Title</a:t>
            </a: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11188" y="1350963"/>
            <a:ext cx="7956000" cy="46008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600"/>
            </a:lvl1pPr>
            <a:lvl2pPr>
              <a:spcBef>
                <a:spcPts val="0"/>
              </a:spcBef>
              <a:defRPr sz="1600"/>
            </a:lvl2pPr>
            <a:lvl3pPr>
              <a:spcBef>
                <a:spcPts val="0"/>
              </a:spcBef>
              <a:defRPr sz="1600"/>
            </a:lvl3pPr>
            <a:lvl4pPr>
              <a:spcBef>
                <a:spcPts val="0"/>
              </a:spcBef>
              <a:defRPr sz="1600"/>
            </a:lvl4pPr>
            <a:lvl5pPr>
              <a:spcBef>
                <a:spcPts val="0"/>
              </a:spcBef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11188" y="6040540"/>
            <a:ext cx="7956000" cy="22263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2973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 smtClean="0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indent="-342900">
              <a:buClrTx/>
              <a:buFont typeface="Arial" panose="020B0604020202020204" pitchFamily="34" charset="0"/>
              <a:buChar char="•"/>
              <a:defRPr i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i="1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i="1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i="1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i="1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 err="1" smtClean="0"/>
              <a:t>Textmasterformate</a:t>
            </a:r>
            <a:r>
              <a:rPr lang="en-GB" dirty="0" smtClean="0"/>
              <a:t> </a:t>
            </a:r>
            <a:r>
              <a:rPr lang="en-GB" dirty="0" err="1" smtClean="0"/>
              <a:t>durch</a:t>
            </a:r>
            <a:r>
              <a:rPr lang="en-GB" dirty="0" smtClean="0"/>
              <a:t> </a:t>
            </a:r>
            <a:r>
              <a:rPr lang="en-GB" dirty="0" err="1" smtClean="0"/>
              <a:t>Klicken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 smtClean="0"/>
          </a:p>
          <a:p>
            <a:pPr lvl="1"/>
            <a:r>
              <a:rPr lang="en-GB" dirty="0" err="1" smtClean="0"/>
              <a:t>Zwei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2"/>
            <a:r>
              <a:rPr lang="en-GB" dirty="0" err="1" smtClean="0"/>
              <a:t>Drit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3"/>
            <a:r>
              <a:rPr lang="en-GB" dirty="0" err="1" smtClean="0"/>
              <a:t>Vier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 smtClean="0"/>
          </a:p>
          <a:p>
            <a:pPr lvl="4"/>
            <a:r>
              <a:rPr lang="en-GB" dirty="0" err="1" smtClean="0"/>
              <a:t>Fünfte</a:t>
            </a:r>
            <a:r>
              <a:rPr lang="en-GB" dirty="0" smtClean="0"/>
              <a:t> </a:t>
            </a:r>
            <a:r>
              <a:rPr lang="en-GB" dirty="0" err="1" smtClean="0"/>
              <a:t>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078776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586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5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A0C6CBA3-07E0-4E5A-9CBC-84DDD6F62137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2347101"/>
      </p:ext>
    </p:extLst>
  </p:cSld>
  <p:clrMapOvr>
    <a:masterClrMapping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7571" y="0"/>
            <a:ext cx="8545484" cy="841375"/>
          </a:xfrm>
        </p:spPr>
        <p:txBody>
          <a:bodyPr/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07571" y="1321723"/>
            <a:ext cx="4173942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6815" y="1321723"/>
            <a:ext cx="4206240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CA6D8E2-A421-439A-9542-C7671204AF4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860931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pour une image 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0264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51325" y="5038194"/>
            <a:ext cx="4892675" cy="532800"/>
          </a:xfrm>
          <a:solidFill>
            <a:schemeClr val="accent1">
              <a:alpha val="80000"/>
            </a:schemeClr>
          </a:solidFill>
        </p:spPr>
        <p:txBody>
          <a:bodyPr lIns="180000" rIns="180000" anchor="ctr" anchorCtr="0">
            <a:noAutofit/>
          </a:bodyPr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Titl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251325" y="3733800"/>
            <a:ext cx="4892675" cy="1304394"/>
          </a:xfrm>
          <a:solidFill>
            <a:schemeClr val="tx2">
              <a:alpha val="80000"/>
            </a:schemeClr>
          </a:solidFill>
        </p:spPr>
        <p:txBody>
          <a:bodyPr lIns="180000" tIns="180000" rIns="180000" bIns="180000">
            <a:noAutofit/>
          </a:bodyPr>
          <a:lstStyle>
            <a:lvl1pPr marL="0" indent="0" algn="l">
              <a:buNone/>
              <a:defRPr sz="1850" cap="none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Text</a:t>
            </a:r>
            <a:endParaRPr lang="en-GB" noProof="0" dirty="0"/>
          </a:p>
        </p:txBody>
      </p:sp>
      <p:pic>
        <p:nvPicPr>
          <p:cNvPr id="21" name="Image 2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2155" y="6320802"/>
            <a:ext cx="1142775" cy="244880"/>
          </a:xfrm>
          <a:prstGeom prst="rect">
            <a:avLst/>
          </a:prstGeom>
        </p:spPr>
      </p:pic>
      <p:sp>
        <p:nvSpPr>
          <p:cNvPr id="6" name="Espace réservé du texte 5"/>
          <p:cNvSpPr>
            <a:spLocks noGrp="1"/>
          </p:cNvSpPr>
          <p:nvPr>
            <p:ph type="body" sz="quarter" idx="11" hasCustomPrompt="1"/>
          </p:nvPr>
        </p:nvSpPr>
        <p:spPr>
          <a:xfrm>
            <a:off x="6688137" y="5850000"/>
            <a:ext cx="2286000" cy="110800"/>
          </a:xfrm>
        </p:spPr>
        <p:txBody>
          <a:bodyPr/>
          <a:lstStyle>
            <a:lvl1pPr algn="r">
              <a:lnSpc>
                <a:spcPct val="90000"/>
              </a:lnSpc>
              <a:defRPr sz="800" b="0"/>
            </a:lvl1pPr>
            <a:lvl2pPr algn="r">
              <a:lnSpc>
                <a:spcPct val="90000"/>
              </a:lnSpc>
              <a:spcBef>
                <a:spcPts val="0"/>
              </a:spcBef>
              <a:defRPr sz="800"/>
            </a:lvl2pPr>
            <a:lvl3pPr algn="r">
              <a:lnSpc>
                <a:spcPct val="90000"/>
              </a:lnSpc>
              <a:spcBef>
                <a:spcPts val="0"/>
              </a:spcBef>
              <a:defRPr sz="800"/>
            </a:lvl3pPr>
            <a:lvl4pPr algn="r">
              <a:lnSpc>
                <a:spcPct val="90000"/>
              </a:lnSpc>
              <a:spcBef>
                <a:spcPts val="0"/>
              </a:spcBef>
              <a:defRPr sz="800"/>
            </a:lvl4pPr>
            <a:lvl5pPr algn="r">
              <a:lnSpc>
                <a:spcPct val="90000"/>
              </a:lnSpc>
              <a:spcBef>
                <a:spcPts val="0"/>
              </a:spcBef>
              <a:defRPr sz="800"/>
            </a:lvl5pPr>
          </a:lstStyle>
          <a:p>
            <a:pPr lvl="0"/>
            <a:r>
              <a:rPr lang="fr-FR"/>
              <a:t>Photography credits</a:t>
            </a:r>
          </a:p>
        </p:txBody>
      </p:sp>
    </p:spTree>
    <p:extLst>
      <p:ext uri="{BB962C8B-B14F-4D97-AF65-F5344CB8AC3E}">
        <p14:creationId xmlns:p14="http://schemas.microsoft.com/office/powerpoint/2010/main" val="368787895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8" y="0"/>
            <a:ext cx="8537171" cy="84137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82E74FB-98A9-4760-AAB1-CA40FB5892D0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5252157"/>
      </p:ext>
    </p:extLst>
  </p:cSld>
  <p:clrMapOvr>
    <a:masterClrMapping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E535B98-BEBB-425D-BC8E-307821EDBAC0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3238967"/>
      </p:ext>
    </p:extLst>
  </p:cSld>
  <p:clrMapOvr>
    <a:masterClrMapping/>
  </p:clrMapOvr>
  <p:transition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age dégag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557213"/>
            <a:ext cx="9144000" cy="7318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96E64F78-AC8F-42E3-9C77-64ECDFE42C1E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4267745"/>
      </p:ext>
    </p:extLst>
  </p:cSld>
  <p:clrMapOvr>
    <a:masterClrMapping/>
  </p:clrMapOvr>
  <p:transition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>
  <p:cSld name="Titre et texte sur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2633" y="0"/>
            <a:ext cx="8613660" cy="847898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282633" y="1246909"/>
            <a:ext cx="8613660" cy="2326554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82633" y="3763052"/>
            <a:ext cx="8613660" cy="232821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1872923"/>
      </p:ext>
    </p:extLst>
  </p:cSld>
  <p:clrMapOvr>
    <a:masterClrMapping/>
  </p:clrMapOvr>
  <p:transition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9" y="0"/>
            <a:ext cx="8553796" cy="90011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299259" y="1350963"/>
            <a:ext cx="8553796" cy="4758892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4271620"/>
      </p:ext>
    </p:extLst>
  </p:cSld>
  <p:clrMapOvr>
    <a:masterClrMapping/>
  </p:clrMapOvr>
  <p:transition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9" descr="fond_150dpi_bleu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>
            <a:fillRect/>
          </a:stretch>
        </p:blipFill>
        <p:spPr bwMode="auto">
          <a:xfrm>
            <a:off x="0" y="0"/>
            <a:ext cx="9144000" cy="6275388"/>
          </a:xfrm>
          <a:prstGeom prst="rect">
            <a:avLst/>
          </a:prstGeom>
          <a:solidFill>
            <a:srgbClr val="45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8" y="2176463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u titr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es sous-titres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E7423CB-C39B-46B7-9A76-B744759BC04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5357678"/>
      </p:ext>
    </p:extLst>
  </p:cSld>
  <p:clrMapOvr>
    <a:masterClrMapping/>
  </p:clrMapOvr>
  <p:transition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 userDrawn="1"/>
        </p:nvSpPr>
        <p:spPr bwMode="auto">
          <a:xfrm>
            <a:off x="0" y="0"/>
            <a:ext cx="9144000" cy="6318250"/>
          </a:xfrm>
          <a:prstGeom prst="rect">
            <a:avLst/>
          </a:prstGeom>
          <a:solidFill>
            <a:srgbClr val="44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4400" eaLnBrk="1" hangingPunct="1"/>
            <a:endParaRPr lang="en-US" dirty="0">
              <a:solidFill>
                <a:srgbClr val="444492"/>
              </a:solidFill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CA6FA23-9279-480B-970E-FA3CDB694608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3799341"/>
      </p:ext>
    </p:extLst>
  </p:cSld>
  <p:clrMapOvr>
    <a:masterClrMapping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r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0" y="0"/>
            <a:ext cx="7952787" cy="763011"/>
          </a:xfrm>
        </p:spPr>
        <p:txBody>
          <a:bodyPr anchor="ctr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8"/>
          <p:cNvSpPr>
            <a:spLocks noGrp="1" noChangeArrowheads="1"/>
          </p:cNvSpPr>
          <p:nvPr>
            <p:ph type="ftr" sz="quarter" idx="10"/>
          </p:nvPr>
        </p:nvSpPr>
        <p:spPr>
          <a:xfrm>
            <a:off x="5076825" y="6421212"/>
            <a:ext cx="2895600" cy="238125"/>
          </a:xfrm>
          <a:prstGeom prst="rect">
            <a:avLst/>
          </a:prstGeom>
          <a:ln/>
        </p:spPr>
        <p:txBody>
          <a:bodyPr anchor="ctr"/>
          <a:lstStyle>
            <a:lvl1pPr>
              <a:defRPr sz="1400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444492"/>
              </a:solidFill>
              <a:latin typeface="Arial"/>
            </a:endParaRPr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188958-8517-4D7A-AE47-DFA241C8D41C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618056" y="763010"/>
            <a:ext cx="7946636" cy="0"/>
            <a:chOff x="618056" y="1259571"/>
            <a:chExt cx="7946636" cy="0"/>
          </a:xfrm>
        </p:grpSpPr>
        <p:cxnSp>
          <p:nvCxnSpPr>
            <p:cNvPr id="7" name="Connecteur droit 6"/>
            <p:cNvCxnSpPr/>
            <p:nvPr userDrawn="1"/>
          </p:nvCxnSpPr>
          <p:spPr>
            <a:xfrm>
              <a:off x="618056" y="1259571"/>
              <a:ext cx="2670151" cy="0"/>
            </a:xfrm>
            <a:prstGeom prst="line">
              <a:avLst/>
            </a:prstGeom>
            <a:ln w="22225">
              <a:solidFill>
                <a:srgbClr val="BCA36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8"/>
            <p:cNvCxnSpPr/>
            <p:nvPr userDrawn="1"/>
          </p:nvCxnSpPr>
          <p:spPr>
            <a:xfrm>
              <a:off x="5900692" y="1259571"/>
              <a:ext cx="2664000" cy="0"/>
            </a:xfrm>
            <a:prstGeom prst="line">
              <a:avLst/>
            </a:prstGeom>
            <a:ln w="22225">
              <a:solidFill>
                <a:srgbClr val="AEB41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necteur droit 7"/>
            <p:cNvCxnSpPr/>
            <p:nvPr userDrawn="1"/>
          </p:nvCxnSpPr>
          <p:spPr>
            <a:xfrm>
              <a:off x="3279316" y="1259571"/>
              <a:ext cx="2628000" cy="0"/>
            </a:xfrm>
            <a:prstGeom prst="line">
              <a:avLst/>
            </a:prstGeom>
            <a:ln w="22225">
              <a:solidFill>
                <a:srgbClr val="34398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" name="Connecteur droit 11"/>
          <p:cNvCxnSpPr/>
          <p:nvPr userDrawn="1"/>
        </p:nvCxnSpPr>
        <p:spPr>
          <a:xfrm>
            <a:off x="636224" y="6237298"/>
            <a:ext cx="7920000" cy="0"/>
          </a:xfrm>
          <a:prstGeom prst="line">
            <a:avLst/>
          </a:prstGeom>
          <a:ln w="6350">
            <a:solidFill>
              <a:srgbClr val="2B2A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12775" y="6083300"/>
            <a:ext cx="7943850" cy="153988"/>
          </a:xfrm>
        </p:spPr>
        <p:txBody>
          <a:bodyPr anchor="b"/>
          <a:lstStyle>
            <a:lvl1pPr marL="90487" indent="0">
              <a:buNone/>
              <a:defRPr sz="800">
                <a:solidFill>
                  <a:srgbClr val="989898"/>
                </a:solidFill>
              </a:defRPr>
            </a:lvl1pPr>
            <a:lvl2pPr marL="457200" indent="0">
              <a:buNone/>
              <a:defRPr sz="800">
                <a:solidFill>
                  <a:srgbClr val="989898"/>
                </a:solidFill>
              </a:defRPr>
            </a:lvl2pPr>
            <a:lvl3pPr marL="914400" indent="0">
              <a:buNone/>
              <a:defRPr sz="800">
                <a:solidFill>
                  <a:srgbClr val="989898"/>
                </a:solidFill>
              </a:defRPr>
            </a:lvl3pPr>
            <a:lvl4pPr marL="1371600" indent="0">
              <a:buNone/>
              <a:defRPr sz="800">
                <a:solidFill>
                  <a:srgbClr val="989898"/>
                </a:solidFill>
              </a:defRPr>
            </a:lvl4pPr>
            <a:lvl5pPr marL="1828800" indent="0">
              <a:buNone/>
              <a:defRPr sz="800">
                <a:solidFill>
                  <a:srgbClr val="989898"/>
                </a:solidFill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686330137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19124" y="455613"/>
            <a:ext cx="8407855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b" anchorCtr="0" compatLnSpc="1">
            <a:prstTxWarp prst="textNoShape">
              <a:avLst/>
            </a:prstTxWarp>
            <a:noAutofit/>
          </a:bodyPr>
          <a:lstStyle>
            <a:lvl1pPr>
              <a:defRPr sz="2400"/>
            </a:lvl1pPr>
          </a:lstStyle>
          <a:p>
            <a:pPr lvl="0"/>
            <a:r>
              <a:rPr lang="en-US" dirty="0"/>
              <a:t>Click to Enter Page Title</a:t>
            </a: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11188" y="1350963"/>
            <a:ext cx="7956000" cy="46008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600"/>
            </a:lvl1pPr>
            <a:lvl2pPr>
              <a:spcBef>
                <a:spcPts val="0"/>
              </a:spcBef>
              <a:defRPr sz="1600"/>
            </a:lvl2pPr>
            <a:lvl3pPr>
              <a:spcBef>
                <a:spcPts val="0"/>
              </a:spcBef>
              <a:defRPr sz="1600"/>
            </a:lvl3pPr>
            <a:lvl4pPr>
              <a:spcBef>
                <a:spcPts val="0"/>
              </a:spcBef>
              <a:defRPr sz="1600"/>
            </a:lvl4pPr>
            <a:lvl5pPr>
              <a:spcBef>
                <a:spcPts val="0"/>
              </a:spcBef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11188" y="6040540"/>
            <a:ext cx="7956000" cy="22263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4945873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re et contenu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131634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480" name="think-cell Folie" r:id="rId5" imgW="499" imgH="499" progId="TCLayout.ActiveDocument.1">
                  <p:embed/>
                </p:oleObj>
              </mc:Choice>
              <mc:Fallback>
                <p:oleObj name="think-cell Folie" r:id="rId5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rme libre : forme 18"/>
          <p:cNvSpPr>
            <a:spLocks/>
          </p:cNvSpPr>
          <p:nvPr userDrawn="1"/>
        </p:nvSpPr>
        <p:spPr bwMode="auto">
          <a:xfrm>
            <a:off x="939869" y="381188"/>
            <a:ext cx="5792373" cy="838200"/>
          </a:xfrm>
          <a:custGeom>
            <a:avLst/>
            <a:gdLst>
              <a:gd name="connsiteX0" fmla="*/ 307975 w 5792373"/>
              <a:gd name="connsiteY0" fmla="*/ 0 h 628650"/>
              <a:gd name="connsiteX1" fmla="*/ 5792373 w 5792373"/>
              <a:gd name="connsiteY1" fmla="*/ 0 h 628650"/>
              <a:gd name="connsiteX2" fmla="*/ 5792373 w 5792373"/>
              <a:gd name="connsiteY2" fmla="*/ 628650 h 628650"/>
              <a:gd name="connsiteX3" fmla="*/ 0 w 5792373"/>
              <a:gd name="connsiteY3" fmla="*/ 628650 h 628650"/>
              <a:gd name="connsiteX4" fmla="*/ 69850 w 5792373"/>
              <a:gd name="connsiteY4" fmla="*/ 466725 h 628650"/>
              <a:gd name="connsiteX5" fmla="*/ 142875 w 5792373"/>
              <a:gd name="connsiteY5" fmla="*/ 307975 h 628650"/>
              <a:gd name="connsiteX6" fmla="*/ 222250 w 5792373"/>
              <a:gd name="connsiteY6" fmla="*/ 152400 h 628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92373" h="628650">
                <a:moveTo>
                  <a:pt x="307975" y="0"/>
                </a:moveTo>
                <a:lnTo>
                  <a:pt x="5792373" y="0"/>
                </a:lnTo>
                <a:lnTo>
                  <a:pt x="5792373" y="628650"/>
                </a:lnTo>
                <a:lnTo>
                  <a:pt x="0" y="628650"/>
                </a:lnTo>
                <a:lnTo>
                  <a:pt x="69850" y="466725"/>
                </a:lnTo>
                <a:lnTo>
                  <a:pt x="142875" y="307975"/>
                </a:lnTo>
                <a:lnTo>
                  <a:pt x="222250" y="152400"/>
                </a:lnTo>
                <a:close/>
              </a:path>
            </a:pathLst>
          </a:custGeom>
          <a:solidFill>
            <a:srgbClr val="CFB28B">
              <a:alpha val="8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444492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259633" y="356658"/>
            <a:ext cx="5472609" cy="864097"/>
          </a:xfrm>
        </p:spPr>
        <p:txBody>
          <a:bodyPr/>
          <a:lstStyle>
            <a:lvl1pPr algn="l">
              <a:defRPr cap="all" baseline="0"/>
            </a:lvl1pPr>
          </a:lstStyle>
          <a:p>
            <a:r>
              <a:rPr lang="en-US" dirty="0"/>
              <a:t>MODIFIEZ LE STYLE DU T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3784BD-AEF4-4952-A313-2EBF09C498B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980"/>
          <a:stretch/>
        </p:blipFill>
        <p:spPr>
          <a:xfrm>
            <a:off x="7054955" y="284649"/>
            <a:ext cx="1722290" cy="1008112"/>
          </a:xfrm>
          <a:prstGeom prst="rect">
            <a:avLst/>
          </a:prstGeom>
        </p:spPr>
      </p:pic>
      <p:pic>
        <p:nvPicPr>
          <p:cNvPr id="9" name="Image 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9574" y="6173081"/>
            <a:ext cx="564852" cy="642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152306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0"/>
            <a:ext cx="9144000" cy="60277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86100" y="673100"/>
            <a:ext cx="5429249" cy="1886670"/>
          </a:xfrm>
        </p:spPr>
        <p:txBody>
          <a:bodyPr/>
          <a:lstStyle>
            <a:lvl1pPr>
              <a:spcBef>
                <a:spcPts val="1200"/>
              </a:spcBef>
              <a:defRPr sz="2800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600"/>
              </a:spcBef>
              <a:defRPr sz="1600" cap="all" baseline="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 level 1</a:t>
            </a:r>
            <a:endParaRPr lang="en-GB" noProof="0" dirty="0"/>
          </a:p>
          <a:p>
            <a:pPr lvl="1"/>
            <a:r>
              <a:rPr lang="en-GB" noProof="0"/>
              <a:t>Text level 2</a:t>
            </a:r>
            <a:endParaRPr lang="en-GB" noProof="0" dirty="0"/>
          </a:p>
          <a:p>
            <a:pPr lvl="2"/>
            <a:r>
              <a:rPr lang="en-GB" noProof="0"/>
              <a:t>Text level 3</a:t>
            </a:r>
            <a:endParaRPr lang="en-GB" noProof="0" dirty="0"/>
          </a:p>
          <a:p>
            <a:pPr lvl="3"/>
            <a:r>
              <a:rPr lang="en-GB" noProof="0"/>
              <a:t>Text level 4</a:t>
            </a:r>
            <a:endParaRPr lang="en-GB" noProof="0" dirty="0"/>
          </a:p>
          <a:p>
            <a:pPr lvl="4"/>
            <a:r>
              <a:rPr lang="en-GB" noProof="0"/>
              <a:t>Text level 5</a:t>
            </a:r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646464"/>
                </a:solidFill>
              </a:rPr>
              <a:t>Corporate presentation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449E3F-F7A8-47F1-A579-B94246E0A518}" type="slidenum">
              <a:rPr lang="en-GB" smtClean="0">
                <a:solidFill>
                  <a:srgbClr val="646464"/>
                </a:solidFill>
              </a:rPr>
              <a:pPr/>
              <a:t>‹#›</a:t>
            </a:fld>
            <a:endParaRPr lang="en-GB" dirty="0">
              <a:solidFill>
                <a:srgbClr val="646464"/>
              </a:solidFill>
            </a:endParaRPr>
          </a:p>
        </p:txBody>
      </p:sp>
      <p:sp>
        <p:nvSpPr>
          <p:cNvPr id="8" name="Freeform 14"/>
          <p:cNvSpPr>
            <a:spLocks noChangeAspect="1" noEditPoints="1"/>
          </p:cNvSpPr>
          <p:nvPr userDrawn="1"/>
        </p:nvSpPr>
        <p:spPr bwMode="auto">
          <a:xfrm>
            <a:off x="-1" y="3241786"/>
            <a:ext cx="9144000" cy="2851099"/>
          </a:xfrm>
          <a:custGeom>
            <a:avLst/>
            <a:gdLst>
              <a:gd name="T0" fmla="*/ 1347 w 1347"/>
              <a:gd name="T1" fmla="*/ 7 h 418"/>
              <a:gd name="T2" fmla="*/ 1123 w 1347"/>
              <a:gd name="T3" fmla="*/ 7 h 418"/>
              <a:gd name="T4" fmla="*/ 1123 w 1347"/>
              <a:gd name="T5" fmla="*/ 411 h 418"/>
              <a:gd name="T6" fmla="*/ 1347 w 1347"/>
              <a:gd name="T7" fmla="*/ 411 h 418"/>
              <a:gd name="T8" fmla="*/ 1347 w 1347"/>
              <a:gd name="T9" fmla="*/ 320 h 418"/>
              <a:gd name="T10" fmla="*/ 1222 w 1347"/>
              <a:gd name="T11" fmla="*/ 320 h 418"/>
              <a:gd name="T12" fmla="*/ 1222 w 1347"/>
              <a:gd name="T13" fmla="*/ 251 h 418"/>
              <a:gd name="T14" fmla="*/ 1343 w 1347"/>
              <a:gd name="T15" fmla="*/ 251 h 418"/>
              <a:gd name="T16" fmla="*/ 1343 w 1347"/>
              <a:gd name="T17" fmla="*/ 161 h 418"/>
              <a:gd name="T18" fmla="*/ 1222 w 1347"/>
              <a:gd name="T19" fmla="*/ 161 h 418"/>
              <a:gd name="T20" fmla="*/ 1222 w 1347"/>
              <a:gd name="T21" fmla="*/ 98 h 418"/>
              <a:gd name="T22" fmla="*/ 1347 w 1347"/>
              <a:gd name="T23" fmla="*/ 98 h 418"/>
              <a:gd name="T24" fmla="*/ 1347 w 1347"/>
              <a:gd name="T25" fmla="*/ 7 h 418"/>
              <a:gd name="T26" fmla="*/ 941 w 1347"/>
              <a:gd name="T27" fmla="*/ 7 h 418"/>
              <a:gd name="T28" fmla="*/ 809 w 1347"/>
              <a:gd name="T29" fmla="*/ 7 h 418"/>
              <a:gd name="T30" fmla="*/ 809 w 1347"/>
              <a:gd name="T31" fmla="*/ 411 h 418"/>
              <a:gd name="T32" fmla="*/ 908 w 1347"/>
              <a:gd name="T33" fmla="*/ 411 h 418"/>
              <a:gd name="T34" fmla="*/ 908 w 1347"/>
              <a:gd name="T35" fmla="*/ 284 h 418"/>
              <a:gd name="T36" fmla="*/ 953 w 1347"/>
              <a:gd name="T37" fmla="*/ 284 h 418"/>
              <a:gd name="T38" fmla="*/ 1070 w 1347"/>
              <a:gd name="T39" fmla="*/ 249 h 418"/>
              <a:gd name="T40" fmla="*/ 1113 w 1347"/>
              <a:gd name="T41" fmla="*/ 144 h 418"/>
              <a:gd name="T42" fmla="*/ 1065 w 1347"/>
              <a:gd name="T43" fmla="*/ 37 h 418"/>
              <a:gd name="T44" fmla="*/ 941 w 1347"/>
              <a:gd name="T45" fmla="*/ 7 h 418"/>
              <a:gd name="T46" fmla="*/ 338 w 1347"/>
              <a:gd name="T47" fmla="*/ 7 h 418"/>
              <a:gd name="T48" fmla="*/ 235 w 1347"/>
              <a:gd name="T49" fmla="*/ 7 h 418"/>
              <a:gd name="T50" fmla="*/ 235 w 1347"/>
              <a:gd name="T51" fmla="*/ 159 h 418"/>
              <a:gd name="T52" fmla="*/ 103 w 1347"/>
              <a:gd name="T53" fmla="*/ 159 h 418"/>
              <a:gd name="T54" fmla="*/ 103 w 1347"/>
              <a:gd name="T55" fmla="*/ 7 h 418"/>
              <a:gd name="T56" fmla="*/ 0 w 1347"/>
              <a:gd name="T57" fmla="*/ 7 h 418"/>
              <a:gd name="T58" fmla="*/ 0 w 1347"/>
              <a:gd name="T59" fmla="*/ 411 h 418"/>
              <a:gd name="T60" fmla="*/ 103 w 1347"/>
              <a:gd name="T61" fmla="*/ 411 h 418"/>
              <a:gd name="T62" fmla="*/ 103 w 1347"/>
              <a:gd name="T63" fmla="*/ 249 h 418"/>
              <a:gd name="T64" fmla="*/ 235 w 1347"/>
              <a:gd name="T65" fmla="*/ 249 h 418"/>
              <a:gd name="T66" fmla="*/ 235 w 1347"/>
              <a:gd name="T67" fmla="*/ 411 h 418"/>
              <a:gd name="T68" fmla="*/ 338 w 1347"/>
              <a:gd name="T69" fmla="*/ 411 h 418"/>
              <a:gd name="T70" fmla="*/ 338 w 1347"/>
              <a:gd name="T71" fmla="*/ 7 h 418"/>
              <a:gd name="T72" fmla="*/ 908 w 1347"/>
              <a:gd name="T73" fmla="*/ 194 h 418"/>
              <a:gd name="T74" fmla="*/ 908 w 1347"/>
              <a:gd name="T75" fmla="*/ 98 h 418"/>
              <a:gd name="T76" fmla="*/ 946 w 1347"/>
              <a:gd name="T77" fmla="*/ 98 h 418"/>
              <a:gd name="T78" fmla="*/ 1014 w 1347"/>
              <a:gd name="T79" fmla="*/ 145 h 418"/>
              <a:gd name="T80" fmla="*/ 950 w 1347"/>
              <a:gd name="T81" fmla="*/ 194 h 418"/>
              <a:gd name="T82" fmla="*/ 908 w 1347"/>
              <a:gd name="T83" fmla="*/ 194 h 418"/>
              <a:gd name="T84" fmla="*/ 575 w 1347"/>
              <a:gd name="T85" fmla="*/ 328 h 418"/>
              <a:gd name="T86" fmla="*/ 464 w 1347"/>
              <a:gd name="T87" fmla="*/ 208 h 418"/>
              <a:gd name="T88" fmla="*/ 574 w 1347"/>
              <a:gd name="T89" fmla="*/ 90 h 418"/>
              <a:gd name="T90" fmla="*/ 683 w 1347"/>
              <a:gd name="T91" fmla="*/ 210 h 418"/>
              <a:gd name="T92" fmla="*/ 575 w 1347"/>
              <a:gd name="T93" fmla="*/ 328 h 418"/>
              <a:gd name="T94" fmla="*/ 573 w 1347"/>
              <a:gd name="T95" fmla="*/ 0 h 418"/>
              <a:gd name="T96" fmla="*/ 377 w 1347"/>
              <a:gd name="T97" fmla="*/ 128 h 418"/>
              <a:gd name="T98" fmla="*/ 361 w 1347"/>
              <a:gd name="T99" fmla="*/ 214 h 418"/>
              <a:gd name="T100" fmla="*/ 573 w 1347"/>
              <a:gd name="T101" fmla="*/ 418 h 418"/>
              <a:gd name="T102" fmla="*/ 786 w 1347"/>
              <a:gd name="T103" fmla="*/ 209 h 418"/>
              <a:gd name="T104" fmla="*/ 573 w 1347"/>
              <a:gd name="T105" fmla="*/ 0 h 4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347" h="418">
                <a:moveTo>
                  <a:pt x="1347" y="7"/>
                </a:moveTo>
                <a:cubicBezTo>
                  <a:pt x="1123" y="7"/>
                  <a:pt x="1123" y="7"/>
                  <a:pt x="1123" y="7"/>
                </a:cubicBezTo>
                <a:cubicBezTo>
                  <a:pt x="1123" y="411"/>
                  <a:pt x="1123" y="411"/>
                  <a:pt x="1123" y="411"/>
                </a:cubicBezTo>
                <a:cubicBezTo>
                  <a:pt x="1347" y="411"/>
                  <a:pt x="1347" y="411"/>
                  <a:pt x="1347" y="411"/>
                </a:cubicBezTo>
                <a:cubicBezTo>
                  <a:pt x="1347" y="320"/>
                  <a:pt x="1347" y="320"/>
                  <a:pt x="1347" y="320"/>
                </a:cubicBezTo>
                <a:cubicBezTo>
                  <a:pt x="1222" y="320"/>
                  <a:pt x="1222" y="320"/>
                  <a:pt x="1222" y="320"/>
                </a:cubicBezTo>
                <a:cubicBezTo>
                  <a:pt x="1222" y="251"/>
                  <a:pt x="1222" y="251"/>
                  <a:pt x="1222" y="251"/>
                </a:cubicBezTo>
                <a:cubicBezTo>
                  <a:pt x="1343" y="251"/>
                  <a:pt x="1343" y="251"/>
                  <a:pt x="1343" y="251"/>
                </a:cubicBezTo>
                <a:cubicBezTo>
                  <a:pt x="1343" y="161"/>
                  <a:pt x="1343" y="161"/>
                  <a:pt x="1343" y="161"/>
                </a:cubicBezTo>
                <a:cubicBezTo>
                  <a:pt x="1222" y="161"/>
                  <a:pt x="1222" y="161"/>
                  <a:pt x="1222" y="161"/>
                </a:cubicBezTo>
                <a:cubicBezTo>
                  <a:pt x="1222" y="98"/>
                  <a:pt x="1222" y="98"/>
                  <a:pt x="1222" y="98"/>
                </a:cubicBezTo>
                <a:cubicBezTo>
                  <a:pt x="1347" y="98"/>
                  <a:pt x="1347" y="98"/>
                  <a:pt x="1347" y="98"/>
                </a:cubicBezTo>
                <a:cubicBezTo>
                  <a:pt x="1347" y="7"/>
                  <a:pt x="1347" y="7"/>
                  <a:pt x="1347" y="7"/>
                </a:cubicBezTo>
                <a:moveTo>
                  <a:pt x="941" y="7"/>
                </a:moveTo>
                <a:cubicBezTo>
                  <a:pt x="809" y="7"/>
                  <a:pt x="809" y="7"/>
                  <a:pt x="809" y="7"/>
                </a:cubicBezTo>
                <a:cubicBezTo>
                  <a:pt x="809" y="411"/>
                  <a:pt x="809" y="411"/>
                  <a:pt x="809" y="411"/>
                </a:cubicBezTo>
                <a:cubicBezTo>
                  <a:pt x="908" y="411"/>
                  <a:pt x="908" y="411"/>
                  <a:pt x="908" y="411"/>
                </a:cubicBezTo>
                <a:cubicBezTo>
                  <a:pt x="908" y="284"/>
                  <a:pt x="908" y="284"/>
                  <a:pt x="908" y="284"/>
                </a:cubicBezTo>
                <a:cubicBezTo>
                  <a:pt x="953" y="284"/>
                  <a:pt x="953" y="284"/>
                  <a:pt x="953" y="284"/>
                </a:cubicBezTo>
                <a:cubicBezTo>
                  <a:pt x="1015" y="284"/>
                  <a:pt x="1043" y="273"/>
                  <a:pt x="1070" y="249"/>
                </a:cubicBezTo>
                <a:cubicBezTo>
                  <a:pt x="1096" y="228"/>
                  <a:pt x="1113" y="185"/>
                  <a:pt x="1113" y="144"/>
                </a:cubicBezTo>
                <a:cubicBezTo>
                  <a:pt x="1113" y="103"/>
                  <a:pt x="1097" y="63"/>
                  <a:pt x="1065" y="37"/>
                </a:cubicBezTo>
                <a:cubicBezTo>
                  <a:pt x="1044" y="19"/>
                  <a:pt x="1016" y="7"/>
                  <a:pt x="941" y="7"/>
                </a:cubicBezTo>
                <a:moveTo>
                  <a:pt x="338" y="7"/>
                </a:moveTo>
                <a:cubicBezTo>
                  <a:pt x="235" y="7"/>
                  <a:pt x="235" y="7"/>
                  <a:pt x="235" y="7"/>
                </a:cubicBezTo>
                <a:cubicBezTo>
                  <a:pt x="235" y="159"/>
                  <a:pt x="235" y="159"/>
                  <a:pt x="235" y="159"/>
                </a:cubicBezTo>
                <a:cubicBezTo>
                  <a:pt x="103" y="159"/>
                  <a:pt x="103" y="159"/>
                  <a:pt x="103" y="159"/>
                </a:cubicBezTo>
                <a:cubicBezTo>
                  <a:pt x="103" y="7"/>
                  <a:pt x="103" y="7"/>
                  <a:pt x="103" y="7"/>
                </a:cubicBezTo>
                <a:cubicBezTo>
                  <a:pt x="0" y="7"/>
                  <a:pt x="0" y="7"/>
                  <a:pt x="0" y="7"/>
                </a:cubicBezTo>
                <a:cubicBezTo>
                  <a:pt x="0" y="411"/>
                  <a:pt x="0" y="411"/>
                  <a:pt x="0" y="411"/>
                </a:cubicBezTo>
                <a:cubicBezTo>
                  <a:pt x="103" y="411"/>
                  <a:pt x="103" y="411"/>
                  <a:pt x="103" y="411"/>
                </a:cubicBezTo>
                <a:cubicBezTo>
                  <a:pt x="103" y="249"/>
                  <a:pt x="103" y="249"/>
                  <a:pt x="103" y="249"/>
                </a:cubicBezTo>
                <a:cubicBezTo>
                  <a:pt x="235" y="249"/>
                  <a:pt x="235" y="249"/>
                  <a:pt x="235" y="249"/>
                </a:cubicBezTo>
                <a:cubicBezTo>
                  <a:pt x="235" y="411"/>
                  <a:pt x="235" y="411"/>
                  <a:pt x="235" y="411"/>
                </a:cubicBezTo>
                <a:cubicBezTo>
                  <a:pt x="338" y="411"/>
                  <a:pt x="338" y="411"/>
                  <a:pt x="338" y="411"/>
                </a:cubicBezTo>
                <a:cubicBezTo>
                  <a:pt x="338" y="7"/>
                  <a:pt x="338" y="7"/>
                  <a:pt x="338" y="7"/>
                </a:cubicBezTo>
                <a:moveTo>
                  <a:pt x="908" y="194"/>
                </a:moveTo>
                <a:cubicBezTo>
                  <a:pt x="908" y="98"/>
                  <a:pt x="908" y="98"/>
                  <a:pt x="908" y="98"/>
                </a:cubicBezTo>
                <a:cubicBezTo>
                  <a:pt x="946" y="98"/>
                  <a:pt x="946" y="98"/>
                  <a:pt x="946" y="98"/>
                </a:cubicBezTo>
                <a:cubicBezTo>
                  <a:pt x="968" y="98"/>
                  <a:pt x="1014" y="98"/>
                  <a:pt x="1014" y="145"/>
                </a:cubicBezTo>
                <a:cubicBezTo>
                  <a:pt x="1014" y="194"/>
                  <a:pt x="970" y="194"/>
                  <a:pt x="950" y="194"/>
                </a:cubicBezTo>
                <a:cubicBezTo>
                  <a:pt x="908" y="194"/>
                  <a:pt x="908" y="194"/>
                  <a:pt x="908" y="194"/>
                </a:cubicBezTo>
                <a:moveTo>
                  <a:pt x="575" y="328"/>
                </a:moveTo>
                <a:cubicBezTo>
                  <a:pt x="506" y="328"/>
                  <a:pt x="464" y="270"/>
                  <a:pt x="464" y="208"/>
                </a:cubicBezTo>
                <a:cubicBezTo>
                  <a:pt x="464" y="151"/>
                  <a:pt x="502" y="90"/>
                  <a:pt x="574" y="90"/>
                </a:cubicBezTo>
                <a:cubicBezTo>
                  <a:pt x="648" y="90"/>
                  <a:pt x="683" y="157"/>
                  <a:pt x="683" y="210"/>
                </a:cubicBezTo>
                <a:cubicBezTo>
                  <a:pt x="683" y="261"/>
                  <a:pt x="648" y="328"/>
                  <a:pt x="575" y="328"/>
                </a:cubicBezTo>
                <a:moveTo>
                  <a:pt x="573" y="0"/>
                </a:moveTo>
                <a:cubicBezTo>
                  <a:pt x="461" y="0"/>
                  <a:pt x="398" y="76"/>
                  <a:pt x="377" y="128"/>
                </a:cubicBezTo>
                <a:cubicBezTo>
                  <a:pt x="365" y="157"/>
                  <a:pt x="361" y="187"/>
                  <a:pt x="361" y="214"/>
                </a:cubicBezTo>
                <a:cubicBezTo>
                  <a:pt x="361" y="318"/>
                  <a:pt x="446" y="418"/>
                  <a:pt x="573" y="418"/>
                </a:cubicBezTo>
                <a:cubicBezTo>
                  <a:pt x="698" y="418"/>
                  <a:pt x="786" y="321"/>
                  <a:pt x="786" y="209"/>
                </a:cubicBezTo>
                <a:cubicBezTo>
                  <a:pt x="786" y="97"/>
                  <a:pt x="698" y="0"/>
                  <a:pt x="573" y="0"/>
                </a:cubicBezTo>
              </a:path>
            </a:pathLst>
          </a:custGeom>
          <a:solidFill>
            <a:srgbClr val="FFFFFF">
              <a:alpha val="3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srgbClr val="646464"/>
              </a:solidFill>
              <a:latin typeface="Arial" panose="020B060402020202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761622598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3" y="284163"/>
            <a:ext cx="7939087" cy="841375"/>
          </a:xfrm>
        </p:spPr>
        <p:txBody>
          <a:bodyPr/>
          <a:lstStyle/>
          <a:p>
            <a:r>
              <a:rPr lang="en-US" noProof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27063" y="1390650"/>
            <a:ext cx="7939087" cy="4248150"/>
          </a:xfrm>
        </p:spPr>
        <p:txBody>
          <a:bodyPr/>
          <a:lstStyle/>
          <a:p>
            <a:pPr lvl="0"/>
            <a:r>
              <a:rPr lang="en-US" noProof="0" dirty="0" err="1"/>
              <a:t>Modifiez</a:t>
            </a:r>
            <a:r>
              <a:rPr lang="en-US" noProof="0" dirty="0"/>
              <a:t>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Quatr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4"/>
            <a:r>
              <a:rPr lang="en-US" noProof="0" dirty="0" err="1"/>
              <a:t>Cinqu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0"/>
          </p:nvPr>
        </p:nvSpPr>
        <p:spPr>
          <a:xfrm>
            <a:off x="5203825" y="6427788"/>
            <a:ext cx="2895600" cy="238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444492"/>
                </a:solidFill>
              </a:rPr>
              <a:t>BD Asia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</a:t>
            </a:r>
            <a:r>
              <a:rPr lang="en-US" sz="900" baseline="16000" dirty="0"/>
              <a:t>         </a:t>
            </a:r>
            <a:fld id="{2055171F-CD83-4488-84E0-4CA1E5B3EB1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4777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Úvodní sníme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8" descr="fond_150dpi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825" y="625475"/>
            <a:ext cx="7935913" cy="5529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596169"/>
                </a:solidFill>
              </a:defRPr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 </a:t>
            </a:r>
            <a:fld id="{4C29F77E-4E95-446A-B97B-FEC312403EB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Rectangle 4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596169"/>
                </a:solidFill>
              </a:defRPr>
            </a:lvl1pPr>
          </a:lstStyle>
          <a:p>
            <a:pPr>
              <a:defRPr/>
            </a:pPr>
            <a:r>
              <a:rPr lang="en-US"/>
              <a:t>NAME OF PRESENTATION</a:t>
            </a:r>
          </a:p>
        </p:txBody>
      </p:sp>
      <p:pic>
        <p:nvPicPr>
          <p:cNvPr id="11" name="Picture 5" descr="C:\Users\I0143074\Desktop\Logo-Sanofi-CHC-rvb-HD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472" y="6219372"/>
            <a:ext cx="2105092" cy="31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06" descr="C:\Users\I0143074\Desktop\dv1954038_6.jp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460" y="548616"/>
            <a:ext cx="8191092" cy="5620409"/>
          </a:xfrm>
          <a:prstGeom prst="rect">
            <a:avLst/>
          </a:prstGeom>
          <a:noFill/>
          <a:ln w="3175">
            <a:solidFill>
              <a:schemeClr val="bg2">
                <a:lumMod val="60000"/>
                <a:lumOff val="4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 userDrawn="1"/>
        </p:nvSpPr>
        <p:spPr>
          <a:xfrm>
            <a:off x="-1" y="4419132"/>
            <a:ext cx="9144001" cy="1296144"/>
          </a:xfrm>
          <a:prstGeom prst="rect">
            <a:avLst/>
          </a:prstGeom>
          <a:solidFill>
            <a:srgbClr val="DC006B">
              <a:alpha val="7764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" name="ZoneTexte 2"/>
          <p:cNvSpPr txBox="1"/>
          <p:nvPr userDrawn="1"/>
        </p:nvSpPr>
        <p:spPr>
          <a:xfrm>
            <a:off x="791496" y="4509144"/>
            <a:ext cx="729097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eaLnBrk="1" hangingPunct="1"/>
            <a:r>
              <a:rPr lang="en-US" sz="3200" b="1" dirty="0" smtClean="0">
                <a:solidFill>
                  <a:srgbClr val="FFFFFF"/>
                </a:solidFill>
                <a:latin typeface="Arial" charset="0"/>
              </a:rPr>
              <a:t>Global CHC Division</a:t>
            </a:r>
          </a:p>
          <a:p>
            <a:pPr defTabSz="914400" eaLnBrk="1" hangingPunct="1"/>
            <a:r>
              <a:rPr lang="en-US" dirty="0" smtClean="0">
                <a:solidFill>
                  <a:srgbClr val="FFFFFF"/>
                </a:solidFill>
                <a:latin typeface="Arial" charset="0"/>
              </a:rPr>
              <a:t>Consumer at heart!</a:t>
            </a:r>
            <a:endParaRPr lang="en-US" dirty="0">
              <a:solidFill>
                <a:srgbClr val="FFFFFF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1978119"/>
      </p:ext>
    </p:extLst>
  </p:cSld>
  <p:clrMapOvr>
    <a:masterClrMapping/>
  </p:clrMapOvr>
  <p:hf sldNum="0" hdr="0" ftr="0" dt="0"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cs-CZ"/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AME OF PRESENTATION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 </a:t>
            </a:r>
            <a:fld id="{353EF99B-25AE-4A71-A085-C504F7BBA3F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8454155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AME OF PRESENTATION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 </a:t>
            </a:r>
            <a:fld id="{BCC73C3A-006E-4DF0-A1C4-66657105D75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659562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627063" y="1390650"/>
            <a:ext cx="3854450" cy="42481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cs-CZ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633913" y="1390650"/>
            <a:ext cx="3856037" cy="42481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cs-CZ"/>
          </a:p>
        </p:txBody>
      </p:sp>
      <p:sp>
        <p:nvSpPr>
          <p:cNvPr id="5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AME OF PRESENTATION</a:t>
            </a:r>
          </a:p>
        </p:txBody>
      </p:sp>
      <p:sp>
        <p:nvSpPr>
          <p:cNvPr id="6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 </a:t>
            </a:r>
            <a:fld id="{BF52B96F-7AAD-434E-BD82-9E36963149A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743910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cs-CZ"/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cs-CZ"/>
          </a:p>
        </p:txBody>
      </p:sp>
      <p:sp>
        <p:nvSpPr>
          <p:cNvPr id="7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AME OF PRESENTATION</a:t>
            </a:r>
          </a:p>
        </p:txBody>
      </p:sp>
      <p:sp>
        <p:nvSpPr>
          <p:cNvPr id="8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 </a:t>
            </a:r>
            <a:fld id="{2C40E2AF-1F72-4CCE-B024-8DFEC03996F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226225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cs-CZ"/>
          </a:p>
        </p:txBody>
      </p:sp>
      <p:sp>
        <p:nvSpPr>
          <p:cNvPr id="3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AME OF PRESENTATION</a:t>
            </a:r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 </a:t>
            </a:r>
            <a:fld id="{3BBA322A-3BCE-4E87-8A2D-BDD6831EBA6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93764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AME OF PRESENTATION</a:t>
            </a:r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 </a:t>
            </a:r>
            <a:fld id="{E0109A89-4165-4244-934C-13D96229116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2939830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AME OF PRESENTATION</a:t>
            </a:r>
          </a:p>
        </p:txBody>
      </p:sp>
      <p:sp>
        <p:nvSpPr>
          <p:cNvPr id="6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 </a:t>
            </a:r>
            <a:fld id="{CC6242BE-A2BA-41C6-A883-BE2F4F4ABDD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5827927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cs-CZ"/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fr-FR" noProof="0" smtClean="0"/>
              <a:t>Cliquez sur l'icône pour ajouter une image</a:t>
            </a:r>
            <a:endParaRPr lang="cs-CZ" noProof="0" smtClean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AME OF PRESENTATION</a:t>
            </a:r>
          </a:p>
        </p:txBody>
      </p:sp>
      <p:sp>
        <p:nvSpPr>
          <p:cNvPr id="6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 </a:t>
            </a:r>
            <a:fld id="{1ED2E5DC-41C9-49EF-B54F-8FD7B0E0835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24835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/>
          <p:cNvSpPr>
            <a:spLocks noGrp="1"/>
          </p:cNvSpPr>
          <p:nvPr>
            <p:ph type="pic" sz="quarter" idx="13"/>
          </p:nvPr>
        </p:nvSpPr>
        <p:spPr>
          <a:xfrm>
            <a:off x="1744663" y="0"/>
            <a:ext cx="7399337" cy="60264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6084000" y="4280923"/>
            <a:ext cx="3060000" cy="1188000"/>
          </a:xfrm>
          <a:solidFill>
            <a:schemeClr val="accent1">
              <a:alpha val="75000"/>
            </a:schemeClr>
          </a:solidFill>
        </p:spPr>
        <p:txBody>
          <a:bodyPr lIns="252000" tIns="180000" rIns="180000" anchor="t" anchorCtr="0">
            <a:no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Title</a:t>
            </a:r>
            <a:endParaRPr lang="en-GB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646464"/>
                </a:solidFill>
              </a:rPr>
              <a:t>Corporate presentation 2015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E36A38-D893-4DE7-921B-58A300AD66A6}" type="slidenum">
              <a:rPr lang="en-GB" smtClean="0">
                <a:solidFill>
                  <a:srgbClr val="646464"/>
                </a:solidFill>
              </a:rPr>
              <a:pPr/>
              <a:t>‹#›</a:t>
            </a:fld>
            <a:endParaRPr lang="en-GB" dirty="0">
              <a:solidFill>
                <a:srgbClr val="646464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744663" cy="602773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Forme libre 9"/>
          <p:cNvSpPr>
            <a:spLocks noChangeAspect="1"/>
          </p:cNvSpPr>
          <p:nvPr userDrawn="1"/>
        </p:nvSpPr>
        <p:spPr>
          <a:xfrm>
            <a:off x="0" y="2770869"/>
            <a:ext cx="243000" cy="486000"/>
          </a:xfrm>
          <a:custGeom>
            <a:avLst/>
            <a:gdLst>
              <a:gd name="connsiteX0" fmla="*/ 0 w 243000"/>
              <a:gd name="connsiteY0" fmla="*/ 0 h 486000"/>
              <a:gd name="connsiteX1" fmla="*/ 243000 w 243000"/>
              <a:gd name="connsiteY1" fmla="*/ 243000 h 486000"/>
              <a:gd name="connsiteX2" fmla="*/ 0 w 243000"/>
              <a:gd name="connsiteY2" fmla="*/ 486000 h 4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3000" h="486000">
                <a:moveTo>
                  <a:pt x="0" y="0"/>
                </a:moveTo>
                <a:cubicBezTo>
                  <a:pt x="134205" y="0"/>
                  <a:pt x="243000" y="108795"/>
                  <a:pt x="243000" y="243000"/>
                </a:cubicBezTo>
                <a:cubicBezTo>
                  <a:pt x="243000" y="377205"/>
                  <a:pt x="134205" y="486000"/>
                  <a:pt x="0" y="48600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4" hasCustomPrompt="1"/>
          </p:nvPr>
        </p:nvSpPr>
        <p:spPr>
          <a:xfrm>
            <a:off x="6688137" y="5850000"/>
            <a:ext cx="2286000" cy="110800"/>
          </a:xfrm>
        </p:spPr>
        <p:txBody>
          <a:bodyPr/>
          <a:lstStyle>
            <a:lvl1pPr algn="r">
              <a:lnSpc>
                <a:spcPct val="90000"/>
              </a:lnSpc>
              <a:defRPr sz="800" b="0"/>
            </a:lvl1pPr>
            <a:lvl2pPr algn="r">
              <a:lnSpc>
                <a:spcPct val="90000"/>
              </a:lnSpc>
              <a:spcBef>
                <a:spcPts val="0"/>
              </a:spcBef>
              <a:defRPr sz="800"/>
            </a:lvl2pPr>
            <a:lvl3pPr algn="r">
              <a:lnSpc>
                <a:spcPct val="90000"/>
              </a:lnSpc>
              <a:spcBef>
                <a:spcPts val="0"/>
              </a:spcBef>
              <a:defRPr sz="800"/>
            </a:lvl3pPr>
            <a:lvl4pPr algn="r">
              <a:lnSpc>
                <a:spcPct val="90000"/>
              </a:lnSpc>
              <a:spcBef>
                <a:spcPts val="0"/>
              </a:spcBef>
              <a:defRPr sz="800"/>
            </a:lvl4pPr>
            <a:lvl5pPr algn="r">
              <a:lnSpc>
                <a:spcPct val="90000"/>
              </a:lnSpc>
              <a:spcBef>
                <a:spcPts val="0"/>
              </a:spcBef>
              <a:defRPr sz="800"/>
            </a:lvl5pPr>
          </a:lstStyle>
          <a:p>
            <a:pPr lvl="0"/>
            <a:r>
              <a:rPr lang="fr-FR"/>
              <a:t>Photography credits</a:t>
            </a:r>
          </a:p>
        </p:txBody>
      </p:sp>
    </p:spTree>
    <p:extLst>
      <p:ext uri="{BB962C8B-B14F-4D97-AF65-F5344CB8AC3E}">
        <p14:creationId xmlns:p14="http://schemas.microsoft.com/office/powerpoint/2010/main" val="4254146269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cs-CZ"/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AME OF PRESENTATION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 </a:t>
            </a:r>
            <a:fld id="{FA318810-D872-4379-A74B-2B78FBA9789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358346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6524625" y="284163"/>
            <a:ext cx="1965325" cy="5354637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627063" y="284163"/>
            <a:ext cx="5745162" cy="5354637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cs-CZ"/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AME OF PRESENTATION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 </a:t>
            </a:r>
            <a:fld id="{5095CF9C-DEEE-44B1-85E8-B1C833E76E0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9405653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32580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5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A0C6CBA3-07E0-4E5A-9CBC-84DDD6F62137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7598790"/>
      </p:ext>
    </p:extLst>
  </p:cSld>
  <p:clrMapOvr>
    <a:masterClrMapping/>
  </p:clrMapOvr>
  <p:transition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7571" y="0"/>
            <a:ext cx="8545484" cy="841375"/>
          </a:xfrm>
        </p:spPr>
        <p:txBody>
          <a:bodyPr/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07571" y="1321723"/>
            <a:ext cx="4173942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6815" y="1321723"/>
            <a:ext cx="4206240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CA6D8E2-A421-439A-9542-C7671204AF4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576879"/>
      </p:ext>
    </p:extLst>
  </p:cSld>
  <p:clrMapOvr>
    <a:masterClrMapping/>
  </p:clrMapOvr>
  <p:transition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8" y="0"/>
            <a:ext cx="8537171" cy="84137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82E74FB-98A9-4760-AAB1-CA40FB5892D0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5038611"/>
      </p:ext>
    </p:extLst>
  </p:cSld>
  <p:clrMapOvr>
    <a:masterClrMapping/>
  </p:clrMapOvr>
  <p:transition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E535B98-BEBB-425D-BC8E-307821EDBAC0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835701"/>
      </p:ext>
    </p:extLst>
  </p:cSld>
  <p:clrMapOvr>
    <a:masterClrMapping/>
  </p:clrMapOvr>
  <p:transition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age dégag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557213"/>
            <a:ext cx="9144000" cy="7318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96E64F78-AC8F-42E3-9C77-64ECDFE42C1E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9318807"/>
      </p:ext>
    </p:extLst>
  </p:cSld>
  <p:clrMapOvr>
    <a:masterClrMapping/>
  </p:clrMapOvr>
  <p:transition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>
  <p:cSld name="Titre et texte sur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2633" y="0"/>
            <a:ext cx="8613660" cy="847898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282633" y="1246909"/>
            <a:ext cx="8613660" cy="2326554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82633" y="3763052"/>
            <a:ext cx="8613660" cy="232821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3091226"/>
      </p:ext>
    </p:extLst>
  </p:cSld>
  <p:clrMapOvr>
    <a:masterClrMapping/>
  </p:clrMapOvr>
  <p:transition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9" y="0"/>
            <a:ext cx="8553796" cy="90011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299259" y="1350963"/>
            <a:ext cx="8553796" cy="4758892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3969797"/>
      </p:ext>
    </p:extLst>
  </p:cSld>
  <p:clrMapOvr>
    <a:masterClrMapping/>
  </p:clrMapOvr>
  <p:transition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9" descr="fond_150dpi_bleu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>
            <a:fillRect/>
          </a:stretch>
        </p:blipFill>
        <p:spPr bwMode="auto">
          <a:xfrm>
            <a:off x="0" y="0"/>
            <a:ext cx="9144000" cy="6275388"/>
          </a:xfrm>
          <a:prstGeom prst="rect">
            <a:avLst/>
          </a:prstGeom>
          <a:solidFill>
            <a:srgbClr val="45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8" y="2176463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u titr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es sous-titres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E7423CB-C39B-46B7-9A76-B744759BC04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3706366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nofi at a gla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8000" y="3181422"/>
            <a:ext cx="1312200" cy="1938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noProof="0"/>
              <a:t>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1999" y="720000"/>
            <a:ext cx="3943349" cy="1772793"/>
          </a:xfrm>
        </p:spPr>
        <p:txBody>
          <a:bodyPr/>
          <a:lstStyle>
            <a:lvl1pPr>
              <a:defRPr sz="200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  <a:endParaRPr lang="en-GB" noProof="0" dirty="0"/>
          </a:p>
          <a:p>
            <a:pPr lvl="1"/>
            <a:r>
              <a:rPr lang="en-GB" noProof="0"/>
              <a:t>Text level 2</a:t>
            </a:r>
            <a:endParaRPr lang="en-GB" noProof="0" dirty="0"/>
          </a:p>
          <a:p>
            <a:pPr lvl="2"/>
            <a:r>
              <a:rPr lang="en-GB" noProof="0"/>
              <a:t>Text level 3</a:t>
            </a:r>
            <a:endParaRPr lang="en-GB" noProof="0" dirty="0"/>
          </a:p>
          <a:p>
            <a:pPr lvl="3"/>
            <a:r>
              <a:rPr lang="en-GB" noProof="0"/>
              <a:t>Text level 4</a:t>
            </a:r>
            <a:endParaRPr lang="en-GB" noProof="0" dirty="0"/>
          </a:p>
          <a:p>
            <a:pPr lvl="4"/>
            <a:r>
              <a:rPr lang="en-GB" noProof="0"/>
              <a:t>Text level 5</a:t>
            </a:r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646464"/>
                </a:solidFill>
              </a:rPr>
              <a:t>Corporate presentation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449E3F-F7A8-47F1-A579-B94246E0A518}" type="slidenum">
              <a:rPr lang="en-GB" smtClean="0">
                <a:solidFill>
                  <a:srgbClr val="646464"/>
                </a:solidFill>
              </a:rPr>
              <a:pPr/>
              <a:t>‹#›</a:t>
            </a:fld>
            <a:endParaRPr lang="en-GB" dirty="0">
              <a:solidFill>
                <a:srgbClr val="646464"/>
              </a:solidFill>
            </a:endParaRPr>
          </a:p>
        </p:txBody>
      </p:sp>
      <p:sp>
        <p:nvSpPr>
          <p:cNvPr id="7" name="Forme libre 6"/>
          <p:cNvSpPr>
            <a:spLocks noChangeAspect="1"/>
          </p:cNvSpPr>
          <p:nvPr userDrawn="1"/>
        </p:nvSpPr>
        <p:spPr>
          <a:xfrm>
            <a:off x="0" y="2770869"/>
            <a:ext cx="243000" cy="486000"/>
          </a:xfrm>
          <a:custGeom>
            <a:avLst/>
            <a:gdLst>
              <a:gd name="connsiteX0" fmla="*/ 0 w 243000"/>
              <a:gd name="connsiteY0" fmla="*/ 0 h 486000"/>
              <a:gd name="connsiteX1" fmla="*/ 243000 w 243000"/>
              <a:gd name="connsiteY1" fmla="*/ 243000 h 486000"/>
              <a:gd name="connsiteX2" fmla="*/ 0 w 243000"/>
              <a:gd name="connsiteY2" fmla="*/ 486000 h 4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3000" h="486000">
                <a:moveTo>
                  <a:pt x="0" y="0"/>
                </a:moveTo>
                <a:cubicBezTo>
                  <a:pt x="134205" y="0"/>
                  <a:pt x="243000" y="108795"/>
                  <a:pt x="243000" y="243000"/>
                </a:cubicBezTo>
                <a:cubicBezTo>
                  <a:pt x="243000" y="377205"/>
                  <a:pt x="134205" y="486000"/>
                  <a:pt x="0" y="48600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8" name="ZoneTexte 7"/>
          <p:cNvSpPr txBox="1"/>
          <p:nvPr userDrawn="1"/>
        </p:nvSpPr>
        <p:spPr>
          <a:xfrm>
            <a:off x="288000" y="2944620"/>
            <a:ext cx="13122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fr-FR" sz="900" dirty="0">
                <a:solidFill>
                  <a:srgbClr val="ACB317"/>
                </a:solidFill>
                <a:latin typeface="Arial" panose="020B0604020202020204"/>
                <a:ea typeface="+mn-ea"/>
              </a:rPr>
              <a:t>SANOFI AT A GLANCE</a:t>
            </a:r>
          </a:p>
        </p:txBody>
      </p:sp>
      <p:sp>
        <p:nvSpPr>
          <p:cNvPr id="10" name="Espace réservé pour une image  9"/>
          <p:cNvSpPr>
            <a:spLocks noGrp="1"/>
          </p:cNvSpPr>
          <p:nvPr>
            <p:ph type="pic" sz="quarter" idx="13"/>
          </p:nvPr>
        </p:nvSpPr>
        <p:spPr>
          <a:xfrm>
            <a:off x="1744662" y="0"/>
            <a:ext cx="2160000" cy="60264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9" name="Espace réservé du texte 5"/>
          <p:cNvSpPr>
            <a:spLocks noGrp="1"/>
          </p:cNvSpPr>
          <p:nvPr>
            <p:ph type="body" sz="quarter" idx="14" hasCustomPrompt="1"/>
          </p:nvPr>
        </p:nvSpPr>
        <p:spPr>
          <a:xfrm>
            <a:off x="1952331" y="5850000"/>
            <a:ext cx="1798402" cy="105476"/>
          </a:xfrm>
        </p:spPr>
        <p:txBody>
          <a:bodyPr/>
          <a:lstStyle>
            <a:lvl1pPr algn="l">
              <a:lnSpc>
                <a:spcPct val="90000"/>
              </a:lnSpc>
              <a:defRPr sz="800" b="0"/>
            </a:lvl1pPr>
            <a:lvl2pPr algn="r">
              <a:lnSpc>
                <a:spcPct val="90000"/>
              </a:lnSpc>
              <a:spcBef>
                <a:spcPts val="0"/>
              </a:spcBef>
              <a:defRPr sz="800"/>
            </a:lvl2pPr>
            <a:lvl3pPr algn="r">
              <a:lnSpc>
                <a:spcPct val="90000"/>
              </a:lnSpc>
              <a:spcBef>
                <a:spcPts val="0"/>
              </a:spcBef>
              <a:defRPr sz="800"/>
            </a:lvl3pPr>
            <a:lvl4pPr algn="r">
              <a:lnSpc>
                <a:spcPct val="90000"/>
              </a:lnSpc>
              <a:spcBef>
                <a:spcPts val="0"/>
              </a:spcBef>
              <a:defRPr sz="800"/>
            </a:lvl4pPr>
            <a:lvl5pPr algn="r">
              <a:lnSpc>
                <a:spcPct val="90000"/>
              </a:lnSpc>
              <a:spcBef>
                <a:spcPts val="0"/>
              </a:spcBef>
              <a:defRPr sz="800"/>
            </a:lvl5pPr>
          </a:lstStyle>
          <a:p>
            <a:pPr lvl="0"/>
            <a:r>
              <a:rPr lang="fr-FR"/>
              <a:t>Photography credits</a:t>
            </a:r>
          </a:p>
        </p:txBody>
      </p:sp>
    </p:spTree>
    <p:extLst>
      <p:ext uri="{BB962C8B-B14F-4D97-AF65-F5344CB8AC3E}">
        <p14:creationId xmlns:p14="http://schemas.microsoft.com/office/powerpoint/2010/main" val="485869879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 userDrawn="1"/>
        </p:nvSpPr>
        <p:spPr bwMode="auto">
          <a:xfrm>
            <a:off x="0" y="0"/>
            <a:ext cx="9144000" cy="6318250"/>
          </a:xfrm>
          <a:prstGeom prst="rect">
            <a:avLst/>
          </a:prstGeom>
          <a:solidFill>
            <a:srgbClr val="44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4400" eaLnBrk="1" hangingPunct="1"/>
            <a:endParaRPr lang="en-US" dirty="0">
              <a:solidFill>
                <a:srgbClr val="444492"/>
              </a:solidFill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CA6FA23-9279-480B-970E-FA3CDB694608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9231641"/>
      </p:ext>
    </p:extLst>
  </p:cSld>
  <p:clrMapOvr>
    <a:masterClrMapping/>
  </p:clrMapOvr>
  <p:transition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r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0" y="0"/>
            <a:ext cx="7952787" cy="763011"/>
          </a:xfrm>
        </p:spPr>
        <p:txBody>
          <a:bodyPr anchor="ctr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8"/>
          <p:cNvSpPr>
            <a:spLocks noGrp="1" noChangeArrowheads="1"/>
          </p:cNvSpPr>
          <p:nvPr>
            <p:ph type="ftr" sz="quarter" idx="10"/>
          </p:nvPr>
        </p:nvSpPr>
        <p:spPr>
          <a:xfrm>
            <a:off x="5076825" y="6421212"/>
            <a:ext cx="2895600" cy="238125"/>
          </a:xfrm>
          <a:prstGeom prst="rect">
            <a:avLst/>
          </a:prstGeom>
          <a:ln/>
        </p:spPr>
        <p:txBody>
          <a:bodyPr anchor="ctr"/>
          <a:lstStyle>
            <a:lvl1pPr>
              <a:defRPr sz="1400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444492"/>
              </a:solidFill>
              <a:latin typeface="Arial"/>
            </a:endParaRPr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188958-8517-4D7A-AE47-DFA241C8D41C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618056" y="763010"/>
            <a:ext cx="7946636" cy="0"/>
            <a:chOff x="618056" y="1259571"/>
            <a:chExt cx="7946636" cy="0"/>
          </a:xfrm>
        </p:grpSpPr>
        <p:cxnSp>
          <p:nvCxnSpPr>
            <p:cNvPr id="7" name="Connecteur droit 6"/>
            <p:cNvCxnSpPr/>
            <p:nvPr userDrawn="1"/>
          </p:nvCxnSpPr>
          <p:spPr>
            <a:xfrm>
              <a:off x="618056" y="1259571"/>
              <a:ext cx="2670151" cy="0"/>
            </a:xfrm>
            <a:prstGeom prst="line">
              <a:avLst/>
            </a:prstGeom>
            <a:ln w="22225">
              <a:solidFill>
                <a:srgbClr val="BCA36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8"/>
            <p:cNvCxnSpPr/>
            <p:nvPr userDrawn="1"/>
          </p:nvCxnSpPr>
          <p:spPr>
            <a:xfrm>
              <a:off x="5900692" y="1259571"/>
              <a:ext cx="2664000" cy="0"/>
            </a:xfrm>
            <a:prstGeom prst="line">
              <a:avLst/>
            </a:prstGeom>
            <a:ln w="22225">
              <a:solidFill>
                <a:srgbClr val="AEB41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necteur droit 7"/>
            <p:cNvCxnSpPr/>
            <p:nvPr userDrawn="1"/>
          </p:nvCxnSpPr>
          <p:spPr>
            <a:xfrm>
              <a:off x="3279316" y="1259571"/>
              <a:ext cx="2628000" cy="0"/>
            </a:xfrm>
            <a:prstGeom prst="line">
              <a:avLst/>
            </a:prstGeom>
            <a:ln w="22225">
              <a:solidFill>
                <a:srgbClr val="34398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" name="Connecteur droit 11"/>
          <p:cNvCxnSpPr/>
          <p:nvPr userDrawn="1"/>
        </p:nvCxnSpPr>
        <p:spPr>
          <a:xfrm>
            <a:off x="636224" y="6237298"/>
            <a:ext cx="7920000" cy="0"/>
          </a:xfrm>
          <a:prstGeom prst="line">
            <a:avLst/>
          </a:prstGeom>
          <a:ln w="6350">
            <a:solidFill>
              <a:srgbClr val="2B2A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12775" y="6083300"/>
            <a:ext cx="7943850" cy="153988"/>
          </a:xfrm>
        </p:spPr>
        <p:txBody>
          <a:bodyPr anchor="b"/>
          <a:lstStyle>
            <a:lvl1pPr marL="90487" indent="0">
              <a:buNone/>
              <a:defRPr sz="800">
                <a:solidFill>
                  <a:srgbClr val="989898"/>
                </a:solidFill>
              </a:defRPr>
            </a:lvl1pPr>
            <a:lvl2pPr marL="457200" indent="0">
              <a:buNone/>
              <a:defRPr sz="800">
                <a:solidFill>
                  <a:srgbClr val="989898"/>
                </a:solidFill>
              </a:defRPr>
            </a:lvl2pPr>
            <a:lvl3pPr marL="914400" indent="0">
              <a:buNone/>
              <a:defRPr sz="800">
                <a:solidFill>
                  <a:srgbClr val="989898"/>
                </a:solidFill>
              </a:defRPr>
            </a:lvl3pPr>
            <a:lvl4pPr marL="1371600" indent="0">
              <a:buNone/>
              <a:defRPr sz="800">
                <a:solidFill>
                  <a:srgbClr val="989898"/>
                </a:solidFill>
              </a:defRPr>
            </a:lvl4pPr>
            <a:lvl5pPr marL="1828800" indent="0">
              <a:buNone/>
              <a:defRPr sz="800">
                <a:solidFill>
                  <a:srgbClr val="989898"/>
                </a:solidFill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2577775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19124" y="455613"/>
            <a:ext cx="8407855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b" anchorCtr="0" compatLnSpc="1">
            <a:prstTxWarp prst="textNoShape">
              <a:avLst/>
            </a:prstTxWarp>
            <a:noAutofit/>
          </a:bodyPr>
          <a:lstStyle>
            <a:lvl1pPr>
              <a:defRPr sz="2400"/>
            </a:lvl1pPr>
          </a:lstStyle>
          <a:p>
            <a:pPr lvl="0"/>
            <a:r>
              <a:rPr lang="en-US" dirty="0"/>
              <a:t>Click to Enter Page Title</a:t>
            </a: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11188" y="1350963"/>
            <a:ext cx="7956000" cy="46008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600"/>
            </a:lvl1pPr>
            <a:lvl2pPr>
              <a:spcBef>
                <a:spcPts val="0"/>
              </a:spcBef>
              <a:defRPr sz="1600"/>
            </a:lvl2pPr>
            <a:lvl3pPr>
              <a:spcBef>
                <a:spcPts val="0"/>
              </a:spcBef>
              <a:defRPr sz="1600"/>
            </a:lvl3pPr>
            <a:lvl4pPr>
              <a:spcBef>
                <a:spcPts val="0"/>
              </a:spcBef>
              <a:defRPr sz="1600"/>
            </a:lvl4pPr>
            <a:lvl5pPr>
              <a:spcBef>
                <a:spcPts val="0"/>
              </a:spcBef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11188" y="6040540"/>
            <a:ext cx="7956000" cy="22263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35572437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re et contenu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8559632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76" name="think-cell Folie" r:id="rId5" imgW="499" imgH="499" progId="TCLayout.ActiveDocument.1">
                  <p:embed/>
                </p:oleObj>
              </mc:Choice>
              <mc:Fallback>
                <p:oleObj name="think-cell Folie" r:id="rId5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rme libre : forme 18"/>
          <p:cNvSpPr>
            <a:spLocks/>
          </p:cNvSpPr>
          <p:nvPr userDrawn="1"/>
        </p:nvSpPr>
        <p:spPr bwMode="auto">
          <a:xfrm>
            <a:off x="939869" y="381188"/>
            <a:ext cx="5792373" cy="838200"/>
          </a:xfrm>
          <a:custGeom>
            <a:avLst/>
            <a:gdLst>
              <a:gd name="connsiteX0" fmla="*/ 307975 w 5792373"/>
              <a:gd name="connsiteY0" fmla="*/ 0 h 628650"/>
              <a:gd name="connsiteX1" fmla="*/ 5792373 w 5792373"/>
              <a:gd name="connsiteY1" fmla="*/ 0 h 628650"/>
              <a:gd name="connsiteX2" fmla="*/ 5792373 w 5792373"/>
              <a:gd name="connsiteY2" fmla="*/ 628650 h 628650"/>
              <a:gd name="connsiteX3" fmla="*/ 0 w 5792373"/>
              <a:gd name="connsiteY3" fmla="*/ 628650 h 628650"/>
              <a:gd name="connsiteX4" fmla="*/ 69850 w 5792373"/>
              <a:gd name="connsiteY4" fmla="*/ 466725 h 628650"/>
              <a:gd name="connsiteX5" fmla="*/ 142875 w 5792373"/>
              <a:gd name="connsiteY5" fmla="*/ 307975 h 628650"/>
              <a:gd name="connsiteX6" fmla="*/ 222250 w 5792373"/>
              <a:gd name="connsiteY6" fmla="*/ 152400 h 628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92373" h="628650">
                <a:moveTo>
                  <a:pt x="307975" y="0"/>
                </a:moveTo>
                <a:lnTo>
                  <a:pt x="5792373" y="0"/>
                </a:lnTo>
                <a:lnTo>
                  <a:pt x="5792373" y="628650"/>
                </a:lnTo>
                <a:lnTo>
                  <a:pt x="0" y="628650"/>
                </a:lnTo>
                <a:lnTo>
                  <a:pt x="69850" y="466725"/>
                </a:lnTo>
                <a:lnTo>
                  <a:pt x="142875" y="307975"/>
                </a:lnTo>
                <a:lnTo>
                  <a:pt x="222250" y="152400"/>
                </a:lnTo>
                <a:close/>
              </a:path>
            </a:pathLst>
          </a:custGeom>
          <a:solidFill>
            <a:srgbClr val="CFB28B">
              <a:alpha val="8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444492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259633" y="356658"/>
            <a:ext cx="5472609" cy="864097"/>
          </a:xfrm>
        </p:spPr>
        <p:txBody>
          <a:bodyPr/>
          <a:lstStyle>
            <a:lvl1pPr algn="l">
              <a:defRPr cap="all" baseline="0"/>
            </a:lvl1pPr>
          </a:lstStyle>
          <a:p>
            <a:r>
              <a:rPr lang="en-US" dirty="0"/>
              <a:t>MODIFIEZ LE STYLE DU T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3784BD-AEF4-4952-A313-2EBF09C498B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980"/>
          <a:stretch/>
        </p:blipFill>
        <p:spPr>
          <a:xfrm>
            <a:off x="7054955" y="284649"/>
            <a:ext cx="1722290" cy="1008112"/>
          </a:xfrm>
          <a:prstGeom prst="rect">
            <a:avLst/>
          </a:prstGeom>
        </p:spPr>
      </p:pic>
      <p:pic>
        <p:nvPicPr>
          <p:cNvPr id="9" name="Image 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9574" y="6173081"/>
            <a:ext cx="564852" cy="642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89524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9" descr="fond_150dpi_bleu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825" y="625475"/>
            <a:ext cx="7935913" cy="552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8" y="2176463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 smtClean="0"/>
              <a:t>Modifiez le style du titre</a:t>
            </a:r>
            <a:endParaRPr lang="en-US" noProof="0" smtClean="0"/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 smtClean="0"/>
              <a:t>Modifiez le style des sous-titres du masque</a:t>
            </a:r>
            <a:endParaRPr lang="en-US" noProof="0" smtClean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F3A7B9D4-2073-408E-ACB3-D182F344218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4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CHC Sales - 2017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0154942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82794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623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cs-CZ"/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596169"/>
                </a:solidFill>
              </a:defRPr>
            </a:lvl1pPr>
          </a:lstStyle>
          <a:p>
            <a:pPr>
              <a:defRPr/>
            </a:pPr>
            <a:r>
              <a:rPr lang="en-US" smtClean="0"/>
              <a:t>CHC Sales - 2017</a:t>
            </a:r>
            <a:endParaRPr lang="en-US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596169"/>
                </a:solidFill>
              </a:defRPr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4628FA19-A280-4CBE-9B40-BE141051F5E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9634332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CHC Sales - 2017</a:t>
            </a:r>
            <a:endParaRPr lang="en-US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7C0FB32F-8932-4214-BACB-77E852C591B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5357110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627063" y="1390650"/>
            <a:ext cx="3854450" cy="42481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cs-CZ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633913" y="1390650"/>
            <a:ext cx="3856037" cy="42481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cs-CZ"/>
          </a:p>
        </p:txBody>
      </p:sp>
      <p:sp>
        <p:nvSpPr>
          <p:cNvPr id="5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CHC Sales - 2017</a:t>
            </a:r>
            <a:endParaRPr lang="en-US"/>
          </a:p>
        </p:txBody>
      </p:sp>
      <p:sp>
        <p:nvSpPr>
          <p:cNvPr id="6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85CAE83F-1C68-40CD-A2C7-D7A1A6874AA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7801262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cs-CZ"/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cs-CZ"/>
          </a:p>
        </p:txBody>
      </p:sp>
      <p:sp>
        <p:nvSpPr>
          <p:cNvPr id="7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CHC Sales - 2017</a:t>
            </a:r>
            <a:endParaRPr lang="en-US"/>
          </a:p>
        </p:txBody>
      </p:sp>
      <p:sp>
        <p:nvSpPr>
          <p:cNvPr id="8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D7E2E0B1-D591-471B-866F-4AEEA9806FD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061572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cs-CZ"/>
          </a:p>
        </p:txBody>
      </p:sp>
      <p:sp>
        <p:nvSpPr>
          <p:cNvPr id="3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CHC Sales - 2017</a:t>
            </a:r>
            <a:endParaRPr lang="en-US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BC8EFE33-9BBE-4EAC-A0D4-CBB87F99E25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95203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nofi at a glance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744663" y="0"/>
            <a:ext cx="7399337" cy="6027738"/>
          </a:xfrm>
          <a:prstGeom prst="rect">
            <a:avLst/>
          </a:prstGeom>
          <a:solidFill>
            <a:srgbClr val="F5F0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8000" y="3181422"/>
            <a:ext cx="1312200" cy="1938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noProof="0"/>
              <a:t>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0" y="720000"/>
            <a:ext cx="3942000" cy="1772793"/>
          </a:xfrm>
        </p:spPr>
        <p:txBody>
          <a:bodyPr/>
          <a:lstStyle>
            <a:lvl1pPr>
              <a:defRPr sz="200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  <a:endParaRPr lang="en-GB" noProof="0" dirty="0"/>
          </a:p>
          <a:p>
            <a:pPr lvl="1"/>
            <a:r>
              <a:rPr lang="en-GB" noProof="0"/>
              <a:t>Text level 2</a:t>
            </a:r>
            <a:endParaRPr lang="en-GB" noProof="0" dirty="0"/>
          </a:p>
          <a:p>
            <a:pPr lvl="2"/>
            <a:r>
              <a:rPr lang="en-GB" noProof="0"/>
              <a:t>Text level 3</a:t>
            </a:r>
            <a:endParaRPr lang="en-GB" noProof="0" dirty="0"/>
          </a:p>
          <a:p>
            <a:pPr lvl="3"/>
            <a:r>
              <a:rPr lang="en-GB" noProof="0"/>
              <a:t>Text level 4</a:t>
            </a:r>
            <a:endParaRPr lang="en-GB" noProof="0" dirty="0"/>
          </a:p>
          <a:p>
            <a:pPr lvl="4"/>
            <a:r>
              <a:rPr lang="en-GB" noProof="0"/>
              <a:t>Text level 5</a:t>
            </a:r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646464"/>
                </a:solidFill>
              </a:rPr>
              <a:t>Corporate presentation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449E3F-F7A8-47F1-A579-B94246E0A518}" type="slidenum">
              <a:rPr lang="en-GB" smtClean="0">
                <a:solidFill>
                  <a:srgbClr val="646464"/>
                </a:solidFill>
              </a:rPr>
              <a:pPr/>
              <a:t>‹#›</a:t>
            </a:fld>
            <a:endParaRPr lang="en-GB" dirty="0">
              <a:solidFill>
                <a:srgbClr val="646464"/>
              </a:solidFill>
            </a:endParaRPr>
          </a:p>
        </p:txBody>
      </p:sp>
      <p:sp>
        <p:nvSpPr>
          <p:cNvPr id="7" name="Forme libre 6"/>
          <p:cNvSpPr>
            <a:spLocks noChangeAspect="1"/>
          </p:cNvSpPr>
          <p:nvPr userDrawn="1"/>
        </p:nvSpPr>
        <p:spPr>
          <a:xfrm>
            <a:off x="0" y="2770869"/>
            <a:ext cx="243000" cy="486000"/>
          </a:xfrm>
          <a:custGeom>
            <a:avLst/>
            <a:gdLst>
              <a:gd name="connsiteX0" fmla="*/ 0 w 243000"/>
              <a:gd name="connsiteY0" fmla="*/ 0 h 486000"/>
              <a:gd name="connsiteX1" fmla="*/ 243000 w 243000"/>
              <a:gd name="connsiteY1" fmla="*/ 243000 h 486000"/>
              <a:gd name="connsiteX2" fmla="*/ 0 w 243000"/>
              <a:gd name="connsiteY2" fmla="*/ 486000 h 4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3000" h="486000">
                <a:moveTo>
                  <a:pt x="0" y="0"/>
                </a:moveTo>
                <a:cubicBezTo>
                  <a:pt x="134205" y="0"/>
                  <a:pt x="243000" y="108795"/>
                  <a:pt x="243000" y="243000"/>
                </a:cubicBezTo>
                <a:cubicBezTo>
                  <a:pt x="243000" y="377205"/>
                  <a:pt x="134205" y="486000"/>
                  <a:pt x="0" y="48600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8" name="ZoneTexte 7"/>
          <p:cNvSpPr txBox="1"/>
          <p:nvPr userDrawn="1"/>
        </p:nvSpPr>
        <p:spPr>
          <a:xfrm>
            <a:off x="288000" y="2944620"/>
            <a:ext cx="13122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fr-FR" sz="900" dirty="0">
                <a:solidFill>
                  <a:srgbClr val="ACB317"/>
                </a:solidFill>
                <a:latin typeface="Arial" panose="020B0604020202020204"/>
                <a:ea typeface="+mn-ea"/>
              </a:rPr>
              <a:t>SANOFI AT A GLANCE</a:t>
            </a:r>
          </a:p>
        </p:txBody>
      </p:sp>
      <p:sp>
        <p:nvSpPr>
          <p:cNvPr id="9" name="Espace réservé pour une image  9"/>
          <p:cNvSpPr>
            <a:spLocks noGrp="1"/>
          </p:cNvSpPr>
          <p:nvPr>
            <p:ph type="pic" sz="quarter" idx="13"/>
          </p:nvPr>
        </p:nvSpPr>
        <p:spPr>
          <a:xfrm>
            <a:off x="1744662" y="0"/>
            <a:ext cx="2160000" cy="60264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4" hasCustomPrompt="1"/>
          </p:nvPr>
        </p:nvSpPr>
        <p:spPr>
          <a:xfrm>
            <a:off x="1952331" y="5850000"/>
            <a:ext cx="1798402" cy="105476"/>
          </a:xfrm>
        </p:spPr>
        <p:txBody>
          <a:bodyPr/>
          <a:lstStyle>
            <a:lvl1pPr algn="l">
              <a:lnSpc>
                <a:spcPct val="90000"/>
              </a:lnSpc>
              <a:defRPr sz="800" b="0"/>
            </a:lvl1pPr>
            <a:lvl2pPr algn="r">
              <a:lnSpc>
                <a:spcPct val="90000"/>
              </a:lnSpc>
              <a:spcBef>
                <a:spcPts val="0"/>
              </a:spcBef>
              <a:defRPr sz="800"/>
            </a:lvl2pPr>
            <a:lvl3pPr algn="r">
              <a:lnSpc>
                <a:spcPct val="90000"/>
              </a:lnSpc>
              <a:spcBef>
                <a:spcPts val="0"/>
              </a:spcBef>
              <a:defRPr sz="800"/>
            </a:lvl3pPr>
            <a:lvl4pPr algn="r">
              <a:lnSpc>
                <a:spcPct val="90000"/>
              </a:lnSpc>
              <a:spcBef>
                <a:spcPts val="0"/>
              </a:spcBef>
              <a:defRPr sz="800"/>
            </a:lvl4pPr>
            <a:lvl5pPr algn="r">
              <a:lnSpc>
                <a:spcPct val="90000"/>
              </a:lnSpc>
              <a:spcBef>
                <a:spcPts val="0"/>
              </a:spcBef>
              <a:defRPr sz="800"/>
            </a:lvl5pPr>
          </a:lstStyle>
          <a:p>
            <a:pPr lvl="0"/>
            <a:r>
              <a:rPr lang="fr-FR"/>
              <a:t>Photography credits</a:t>
            </a:r>
          </a:p>
        </p:txBody>
      </p:sp>
    </p:spTree>
    <p:extLst>
      <p:ext uri="{BB962C8B-B14F-4D97-AF65-F5344CB8AC3E}">
        <p14:creationId xmlns:p14="http://schemas.microsoft.com/office/powerpoint/2010/main" val="3527549676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CHC Sales - 2017</a:t>
            </a:r>
            <a:endParaRPr lang="en-US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D366C140-F20A-4989-BE3C-713A0D70110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5680164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CHC Sales - 2017</a:t>
            </a:r>
            <a:endParaRPr lang="en-US"/>
          </a:p>
        </p:txBody>
      </p:sp>
      <p:sp>
        <p:nvSpPr>
          <p:cNvPr id="6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2B8D0ABE-BB58-4A8B-B450-A04D80EBBAD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0057788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cs-CZ"/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fr-FR" noProof="0" smtClean="0"/>
              <a:t>Cliquez sur l'icône pour ajouter une image</a:t>
            </a:r>
            <a:endParaRPr lang="cs-CZ" noProof="0" smtClean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CHC Sales - 2017</a:t>
            </a:r>
            <a:endParaRPr lang="en-US"/>
          </a:p>
        </p:txBody>
      </p:sp>
      <p:sp>
        <p:nvSpPr>
          <p:cNvPr id="6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54CAD7D4-7A1A-430C-83E1-861F9B11EF7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1862869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cs-CZ"/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CHC Sales - 2017</a:t>
            </a:r>
            <a:endParaRPr lang="en-US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3A8D6DA2-AA4D-4B42-9D28-341B2DB28DA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3103438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6524625" y="284163"/>
            <a:ext cx="1965325" cy="5354637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627063" y="284163"/>
            <a:ext cx="5745162" cy="5354637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cs-CZ"/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CHC Sales - 2017</a:t>
            </a:r>
            <a:endParaRPr lang="en-US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E3B48198-8350-4CC1-975B-64776A868E8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1198492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9" descr="fond_150dpi_bleu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825" y="625475"/>
            <a:ext cx="7935913" cy="552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8" y="2176463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 smtClean="0"/>
              <a:t>Modifiez le style du titre</a:t>
            </a:r>
            <a:endParaRPr lang="en-US" noProof="0" smtClean="0"/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 smtClean="0"/>
              <a:t>Modifiez le style des sous-titres du masque</a:t>
            </a:r>
            <a:endParaRPr lang="en-US" noProof="0" smtClean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F3A7B9D4-2073-408E-ACB3-D182F344218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4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AM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3179591234"/>
      </p:ext>
    </p:extLst>
  </p:cSld>
  <p:clrMapOvr>
    <a:masterClrMapping/>
  </p:clrMapOvr>
  <p:hf sldNum="0" hdr="0" ftr="0" dt="0"/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2985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71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cs-CZ"/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596169"/>
                </a:solidFill>
              </a:defRPr>
            </a:lvl1pPr>
          </a:lstStyle>
          <a:p>
            <a:pPr>
              <a:defRPr/>
            </a:pPr>
            <a:r>
              <a:rPr lang="en-US"/>
              <a:t>NAME OF PRESENTATION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596169"/>
                </a:solidFill>
              </a:defRPr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4628FA19-A280-4CBE-9B40-BE141051F5E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6027253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AME OF PRESENTATION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7C0FB32F-8932-4214-BACB-77E852C591B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9655587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627063" y="1390650"/>
            <a:ext cx="3854450" cy="42481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cs-CZ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633913" y="1390650"/>
            <a:ext cx="3856037" cy="42481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cs-CZ"/>
          </a:p>
        </p:txBody>
      </p:sp>
      <p:sp>
        <p:nvSpPr>
          <p:cNvPr id="5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AME OF PRESENTATION</a:t>
            </a:r>
          </a:p>
        </p:txBody>
      </p:sp>
      <p:sp>
        <p:nvSpPr>
          <p:cNvPr id="6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85CAE83F-1C68-40CD-A2C7-D7A1A6874AA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0463405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cs-CZ"/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cs-CZ"/>
          </a:p>
        </p:txBody>
      </p:sp>
      <p:sp>
        <p:nvSpPr>
          <p:cNvPr id="7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AME OF PRESENTATION</a:t>
            </a:r>
          </a:p>
        </p:txBody>
      </p:sp>
      <p:sp>
        <p:nvSpPr>
          <p:cNvPr id="8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D7E2E0B1-D591-471B-866F-4AEEA9806FD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53211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anofi Count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pour une image 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0264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51325" y="5038194"/>
            <a:ext cx="4892675" cy="532800"/>
          </a:xfrm>
          <a:solidFill>
            <a:schemeClr val="accent2">
              <a:alpha val="80000"/>
            </a:schemeClr>
          </a:solidFill>
        </p:spPr>
        <p:txBody>
          <a:bodyPr lIns="180000" rIns="180000" anchor="ctr" anchorCtr="0">
            <a:noAutofit/>
          </a:bodyPr>
          <a:lstStyle>
            <a:lvl1pPr algn="l"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Titl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251325" y="3733800"/>
            <a:ext cx="4892675" cy="1304394"/>
          </a:xfrm>
          <a:solidFill>
            <a:schemeClr val="tx2">
              <a:alpha val="80000"/>
            </a:schemeClr>
          </a:solidFill>
        </p:spPr>
        <p:txBody>
          <a:bodyPr lIns="180000" tIns="180000" rIns="180000" bIns="180000">
            <a:noAutofit/>
          </a:bodyPr>
          <a:lstStyle>
            <a:lvl1pPr marL="0" indent="0" algn="l">
              <a:buNone/>
              <a:defRPr sz="1850" cap="none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Text</a:t>
            </a:r>
            <a:endParaRPr lang="en-GB" noProof="0" dirty="0"/>
          </a:p>
        </p:txBody>
      </p:sp>
      <p:pic>
        <p:nvPicPr>
          <p:cNvPr id="21" name="Image 2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2155" y="6320802"/>
            <a:ext cx="1142775" cy="244880"/>
          </a:xfrm>
          <a:prstGeom prst="rect">
            <a:avLst/>
          </a:prstGeom>
        </p:spPr>
      </p:pic>
      <p:sp>
        <p:nvSpPr>
          <p:cNvPr id="18" name="Espace réservé du texte 5"/>
          <p:cNvSpPr>
            <a:spLocks noGrp="1"/>
          </p:cNvSpPr>
          <p:nvPr>
            <p:ph type="body" sz="quarter" idx="11" hasCustomPrompt="1"/>
          </p:nvPr>
        </p:nvSpPr>
        <p:spPr>
          <a:xfrm>
            <a:off x="6688137" y="5850000"/>
            <a:ext cx="2286000" cy="110800"/>
          </a:xfrm>
        </p:spPr>
        <p:txBody>
          <a:bodyPr/>
          <a:lstStyle>
            <a:lvl1pPr algn="r">
              <a:lnSpc>
                <a:spcPct val="90000"/>
              </a:lnSpc>
              <a:defRPr sz="800" b="0"/>
            </a:lvl1pPr>
            <a:lvl2pPr algn="r">
              <a:lnSpc>
                <a:spcPct val="90000"/>
              </a:lnSpc>
              <a:spcBef>
                <a:spcPts val="0"/>
              </a:spcBef>
              <a:defRPr sz="800"/>
            </a:lvl2pPr>
            <a:lvl3pPr algn="r">
              <a:lnSpc>
                <a:spcPct val="90000"/>
              </a:lnSpc>
              <a:spcBef>
                <a:spcPts val="0"/>
              </a:spcBef>
              <a:defRPr sz="800"/>
            </a:lvl3pPr>
            <a:lvl4pPr algn="r">
              <a:lnSpc>
                <a:spcPct val="90000"/>
              </a:lnSpc>
              <a:spcBef>
                <a:spcPts val="0"/>
              </a:spcBef>
              <a:defRPr sz="800"/>
            </a:lvl4pPr>
            <a:lvl5pPr algn="r">
              <a:lnSpc>
                <a:spcPct val="90000"/>
              </a:lnSpc>
              <a:spcBef>
                <a:spcPts val="0"/>
              </a:spcBef>
              <a:defRPr sz="800"/>
            </a:lvl5pPr>
          </a:lstStyle>
          <a:p>
            <a:pPr lvl="0"/>
            <a:r>
              <a:rPr lang="fr-FR"/>
              <a:t>Photography credits</a:t>
            </a:r>
          </a:p>
        </p:txBody>
      </p:sp>
    </p:spTree>
    <p:extLst>
      <p:ext uri="{BB962C8B-B14F-4D97-AF65-F5344CB8AC3E}">
        <p14:creationId xmlns:p14="http://schemas.microsoft.com/office/powerpoint/2010/main" val="2492442117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cs-CZ"/>
          </a:p>
        </p:txBody>
      </p:sp>
      <p:sp>
        <p:nvSpPr>
          <p:cNvPr id="3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AME OF PRESENTATION</a:t>
            </a:r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BC8EFE33-9BBE-4EAC-A0D4-CBB87F99E25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1601372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AME OF PRESENTATION</a:t>
            </a:r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D366C140-F20A-4989-BE3C-713A0D70110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6234039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AME OF PRESENTATION</a:t>
            </a:r>
          </a:p>
        </p:txBody>
      </p:sp>
      <p:sp>
        <p:nvSpPr>
          <p:cNvPr id="6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2B8D0ABE-BB58-4A8B-B450-A04D80EBBAD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0930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cs-CZ"/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fr-FR" noProof="0" smtClean="0"/>
              <a:t>Cliquez sur l'icône pour ajouter une image</a:t>
            </a:r>
            <a:endParaRPr lang="cs-CZ" noProof="0" smtClean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AME OF PRESENTATION</a:t>
            </a:r>
          </a:p>
        </p:txBody>
      </p:sp>
      <p:sp>
        <p:nvSpPr>
          <p:cNvPr id="6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54CAD7D4-7A1A-430C-83E1-861F9B11EF7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0042782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cs-CZ"/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AME OF PRESENTATION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3A8D6DA2-AA4D-4B42-9D28-341B2DB28DA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3256654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6524625" y="284163"/>
            <a:ext cx="1965325" cy="5354637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627063" y="284163"/>
            <a:ext cx="5745162" cy="5354637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cs-CZ"/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AME OF PRESENTATION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E3B48198-8350-4CC1-975B-64776A868E8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6536735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67719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719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A0C6CBA3-07E0-4E5A-9CBC-84DDD6F6213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11139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7571" y="4"/>
            <a:ext cx="8545484" cy="841375"/>
          </a:xfrm>
        </p:spPr>
        <p:txBody>
          <a:bodyPr/>
          <a:lstStyle>
            <a:lvl1pPr>
              <a:defRPr sz="24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07571" y="1321724"/>
            <a:ext cx="4173942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6815" y="1321724"/>
            <a:ext cx="4206240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CCA6D8E2-A421-439A-9542-C7671204AF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4295992"/>
      </p:ext>
    </p:extLst>
  </p:cSld>
  <p:clrMapOvr>
    <a:masterClrMapping/>
  </p:clrMapOvr>
  <p:transition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05476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743" name="Diapositive think-cell" r:id="rId4" imgW="416" imgH="416" progId="TCLayout.ActiveDocument.1">
                  <p:embed/>
                </p:oleObj>
              </mc:Choice>
              <mc:Fallback>
                <p:oleObj name="Diapositive think-cell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8" y="4"/>
            <a:ext cx="8537171" cy="84137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182E74FB-98A9-4760-AAB1-CA40FB5892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4242829"/>
      </p:ext>
    </p:extLst>
  </p:cSld>
  <p:clrMapOvr>
    <a:masterClrMapping/>
  </p:clrMapOvr>
  <p:transition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1E535B98-BEBB-425D-BC8E-307821EDBA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7961119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nofi Count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8000" y="3181422"/>
            <a:ext cx="1312200" cy="19389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GB" noProof="0"/>
              <a:t>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0" y="720000"/>
            <a:ext cx="3942000" cy="1772793"/>
          </a:xfrm>
        </p:spPr>
        <p:txBody>
          <a:bodyPr/>
          <a:lstStyle>
            <a:lvl1pPr>
              <a:defRPr sz="2000" b="1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  <a:endParaRPr lang="en-GB" noProof="0" dirty="0"/>
          </a:p>
          <a:p>
            <a:pPr lvl="1"/>
            <a:r>
              <a:rPr lang="en-GB" noProof="0"/>
              <a:t>Text level 2</a:t>
            </a:r>
            <a:endParaRPr lang="en-GB" noProof="0" dirty="0"/>
          </a:p>
          <a:p>
            <a:pPr lvl="2"/>
            <a:r>
              <a:rPr lang="en-GB" noProof="0"/>
              <a:t>Text level 3</a:t>
            </a:r>
            <a:endParaRPr lang="en-GB" noProof="0" dirty="0"/>
          </a:p>
          <a:p>
            <a:pPr lvl="3"/>
            <a:r>
              <a:rPr lang="en-GB" noProof="0"/>
              <a:t>Text level 4</a:t>
            </a:r>
            <a:endParaRPr lang="en-GB" noProof="0" dirty="0"/>
          </a:p>
          <a:p>
            <a:pPr lvl="4"/>
            <a:r>
              <a:rPr lang="en-GB" noProof="0"/>
              <a:t>Text level 5</a:t>
            </a:r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646464"/>
                </a:solidFill>
              </a:rPr>
              <a:t>Corporate presentation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449E3F-F7A8-47F1-A579-B94246E0A518}" type="slidenum">
              <a:rPr lang="en-GB" smtClean="0">
                <a:solidFill>
                  <a:srgbClr val="646464"/>
                </a:solidFill>
              </a:rPr>
              <a:pPr/>
              <a:t>‹#›</a:t>
            </a:fld>
            <a:endParaRPr lang="en-GB" dirty="0">
              <a:solidFill>
                <a:srgbClr val="646464"/>
              </a:solidFill>
            </a:endParaRPr>
          </a:p>
        </p:txBody>
      </p:sp>
      <p:sp>
        <p:nvSpPr>
          <p:cNvPr id="7" name="Forme libre 6"/>
          <p:cNvSpPr>
            <a:spLocks noChangeAspect="1"/>
          </p:cNvSpPr>
          <p:nvPr userDrawn="1"/>
        </p:nvSpPr>
        <p:spPr>
          <a:xfrm>
            <a:off x="0" y="2770869"/>
            <a:ext cx="243000" cy="486000"/>
          </a:xfrm>
          <a:custGeom>
            <a:avLst/>
            <a:gdLst>
              <a:gd name="connsiteX0" fmla="*/ 0 w 243000"/>
              <a:gd name="connsiteY0" fmla="*/ 0 h 486000"/>
              <a:gd name="connsiteX1" fmla="*/ 243000 w 243000"/>
              <a:gd name="connsiteY1" fmla="*/ 243000 h 486000"/>
              <a:gd name="connsiteX2" fmla="*/ 0 w 243000"/>
              <a:gd name="connsiteY2" fmla="*/ 486000 h 4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3000" h="486000">
                <a:moveTo>
                  <a:pt x="0" y="0"/>
                </a:moveTo>
                <a:cubicBezTo>
                  <a:pt x="134205" y="0"/>
                  <a:pt x="243000" y="108795"/>
                  <a:pt x="243000" y="243000"/>
                </a:cubicBezTo>
                <a:cubicBezTo>
                  <a:pt x="243000" y="377205"/>
                  <a:pt x="134205" y="486000"/>
                  <a:pt x="0" y="48600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9" name="Espace réservé pour une image  9"/>
          <p:cNvSpPr>
            <a:spLocks noGrp="1"/>
          </p:cNvSpPr>
          <p:nvPr>
            <p:ph type="pic" sz="quarter" idx="13"/>
          </p:nvPr>
        </p:nvSpPr>
        <p:spPr>
          <a:xfrm>
            <a:off x="1744662" y="0"/>
            <a:ext cx="2160000" cy="60264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29" name="Espace réservé du texte 28"/>
          <p:cNvSpPr>
            <a:spLocks noGrp="1"/>
          </p:cNvSpPr>
          <p:nvPr>
            <p:ph type="body" sz="quarter" idx="14" hasCustomPrompt="1"/>
          </p:nvPr>
        </p:nvSpPr>
        <p:spPr>
          <a:xfrm>
            <a:off x="288000" y="2944620"/>
            <a:ext cx="1312200" cy="1246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00" b="0" cap="all" baseline="0">
                <a:solidFill>
                  <a:schemeClr val="accent2"/>
                </a:solidFill>
              </a:defRPr>
            </a:lvl1pPr>
            <a:lvl2pPr>
              <a:lnSpc>
                <a:spcPct val="90000"/>
              </a:lnSpc>
              <a:spcBef>
                <a:spcPts val="600"/>
              </a:spcBef>
              <a:defRPr sz="900"/>
            </a:lvl2pPr>
            <a:lvl3pPr>
              <a:lnSpc>
                <a:spcPct val="90000"/>
              </a:lnSpc>
              <a:spcBef>
                <a:spcPts val="600"/>
              </a:spcBef>
              <a:defRPr sz="900"/>
            </a:lvl3pPr>
            <a:lvl4pPr>
              <a:lnSpc>
                <a:spcPct val="90000"/>
              </a:lnSpc>
              <a:spcBef>
                <a:spcPts val="600"/>
              </a:spcBef>
              <a:defRPr sz="900"/>
            </a:lvl4pPr>
            <a:lvl5pPr>
              <a:lnSpc>
                <a:spcPct val="90000"/>
              </a:lnSpc>
              <a:spcBef>
                <a:spcPts val="600"/>
              </a:spcBef>
              <a:defRPr sz="900"/>
            </a:lvl5pPr>
          </a:lstStyle>
          <a:p>
            <a:pPr lvl="0"/>
            <a:r>
              <a:rPr lang="fr-FR"/>
              <a:t>Text</a:t>
            </a:r>
          </a:p>
        </p:txBody>
      </p:sp>
      <p:sp>
        <p:nvSpPr>
          <p:cNvPr id="28" name="Espace réservé du texte 5"/>
          <p:cNvSpPr>
            <a:spLocks noGrp="1"/>
          </p:cNvSpPr>
          <p:nvPr>
            <p:ph type="body" sz="quarter" idx="15" hasCustomPrompt="1"/>
          </p:nvPr>
        </p:nvSpPr>
        <p:spPr>
          <a:xfrm>
            <a:off x="1952331" y="5850000"/>
            <a:ext cx="1798402" cy="105476"/>
          </a:xfrm>
        </p:spPr>
        <p:txBody>
          <a:bodyPr/>
          <a:lstStyle>
            <a:lvl1pPr algn="l">
              <a:lnSpc>
                <a:spcPct val="90000"/>
              </a:lnSpc>
              <a:defRPr sz="800" b="0"/>
            </a:lvl1pPr>
            <a:lvl2pPr algn="r">
              <a:lnSpc>
                <a:spcPct val="90000"/>
              </a:lnSpc>
              <a:spcBef>
                <a:spcPts val="0"/>
              </a:spcBef>
              <a:defRPr sz="800"/>
            </a:lvl2pPr>
            <a:lvl3pPr algn="r">
              <a:lnSpc>
                <a:spcPct val="90000"/>
              </a:lnSpc>
              <a:spcBef>
                <a:spcPts val="0"/>
              </a:spcBef>
              <a:defRPr sz="800"/>
            </a:lvl3pPr>
            <a:lvl4pPr algn="r">
              <a:lnSpc>
                <a:spcPct val="90000"/>
              </a:lnSpc>
              <a:spcBef>
                <a:spcPts val="0"/>
              </a:spcBef>
              <a:defRPr sz="800"/>
            </a:lvl4pPr>
            <a:lvl5pPr algn="r">
              <a:lnSpc>
                <a:spcPct val="90000"/>
              </a:lnSpc>
              <a:spcBef>
                <a:spcPts val="0"/>
              </a:spcBef>
              <a:defRPr sz="800"/>
            </a:lvl5pPr>
          </a:lstStyle>
          <a:p>
            <a:pPr lvl="0"/>
            <a:r>
              <a:rPr lang="fr-FR"/>
              <a:t>Photography credits</a:t>
            </a:r>
          </a:p>
        </p:txBody>
      </p:sp>
    </p:spTree>
    <p:extLst>
      <p:ext uri="{BB962C8B-B14F-4D97-AF65-F5344CB8AC3E}">
        <p14:creationId xmlns:p14="http://schemas.microsoft.com/office/powerpoint/2010/main" val="417331517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age dégag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71294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767" name="Diapositive think-cell" r:id="rId4" imgW="416" imgH="416" progId="TCLayout.ActiveDocument.1">
                  <p:embed/>
                </p:oleObj>
              </mc:Choice>
              <mc:Fallback>
                <p:oleObj name="Diapositive think-cell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/>
        </p:nvSpPr>
        <p:spPr>
          <a:xfrm>
            <a:off x="0" y="557216"/>
            <a:ext cx="9144000" cy="7318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96E64F78-AC8F-42E3-9C77-64ECDFE42C1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5678105"/>
      </p:ext>
    </p:extLst>
  </p:cSld>
  <p:clrMapOvr>
    <a:masterClrMapping/>
  </p:clrMapOvr>
  <p:transition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>
  <p:cSld name="Titre et texte sur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2633" y="1"/>
            <a:ext cx="8613660" cy="847899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282633" y="1246909"/>
            <a:ext cx="8613660" cy="2326555"/>
          </a:xfrm>
        </p:spPr>
        <p:txBody>
          <a:bodyPr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82633" y="3763082"/>
            <a:ext cx="8613660" cy="2328215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7186530"/>
      </p:ext>
    </p:extLst>
  </p:cSld>
  <p:clrMapOvr>
    <a:masterClrMapping/>
  </p:clrMapOvr>
  <p:transition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9" descr="fond_150dpi_bleu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 b="1460"/>
          <a:stretch>
            <a:fillRect/>
          </a:stretch>
        </p:blipFill>
        <p:spPr bwMode="auto">
          <a:xfrm>
            <a:off x="0" y="2"/>
            <a:ext cx="9144000" cy="6275388"/>
          </a:xfrm>
          <a:prstGeom prst="rect">
            <a:avLst/>
          </a:prstGeom>
          <a:solidFill>
            <a:srgbClr val="45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9" y="2176493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quez pour modifier le style du titr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quez pour modifier le style des sous-titres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8E7423CB-C39B-46B7-9A76-B744759BC04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2682159"/>
      </p:ext>
    </p:extLst>
  </p:cSld>
  <p:clrMapOvr>
    <a:masterClrMapping/>
  </p:clrMapOvr>
  <p:transition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 userDrawn="1"/>
        </p:nvSpPr>
        <p:spPr bwMode="auto">
          <a:xfrm>
            <a:off x="0" y="0"/>
            <a:ext cx="9144000" cy="6318251"/>
          </a:xfrm>
          <a:prstGeom prst="rect">
            <a:avLst/>
          </a:prstGeom>
          <a:solidFill>
            <a:srgbClr val="44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4400" eaLnBrk="1" hangingPunct="1"/>
            <a:endParaRPr lang="en-US">
              <a:solidFill>
                <a:srgbClr val="444492"/>
              </a:solidFill>
              <a:latin typeface="Arial"/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8CA6FA23-9279-480B-970E-FA3CDB69460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153858"/>
      </p:ext>
    </p:extLst>
  </p:cSld>
  <p:clrMapOvr>
    <a:masterClrMapping/>
  </p:clrMapOvr>
  <p:transition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9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791"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9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 flipH="1">
            <a:off x="631825" y="5949951"/>
            <a:ext cx="7972425" cy="673100"/>
          </a:xfrm>
          <a:prstGeom prst="rect">
            <a:avLst/>
          </a:prstGeom>
          <a:solidFill>
            <a:srgbClr val="FFFFFF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hangingPunct="1"/>
            <a:endParaRPr lang="fr-FR">
              <a:solidFill>
                <a:srgbClr val="FFFFFF"/>
              </a:solidFill>
              <a:ea typeface="MS PGothic" pitchFamily="34" charset="-128"/>
            </a:endParaRPr>
          </a:p>
        </p:txBody>
      </p:sp>
      <p:cxnSp>
        <p:nvCxnSpPr>
          <p:cNvPr id="6" name="Straight Connector 16"/>
          <p:cNvCxnSpPr/>
          <p:nvPr/>
        </p:nvCxnSpPr>
        <p:spPr>
          <a:xfrm>
            <a:off x="631825" y="6286500"/>
            <a:ext cx="797242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13"/>
          <p:cNvSpPr>
            <a:spLocks noChangeArrowheads="1"/>
          </p:cNvSpPr>
          <p:nvPr/>
        </p:nvSpPr>
        <p:spPr bwMode="auto">
          <a:xfrm>
            <a:off x="8388350" y="6372225"/>
            <a:ext cx="755650" cy="4143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defTabSz="914400" eaLnBrk="1" hangingPunct="1"/>
            <a:r>
              <a:rPr lang="fr-FR" sz="800" smtClean="0">
                <a:solidFill>
                  <a:srgbClr val="777777"/>
                </a:solidFill>
                <a:latin typeface="Arial"/>
              </a:rPr>
              <a:t>|   </a:t>
            </a:r>
            <a:fld id="{52CDBE10-BEB4-40E5-A095-3E3BDD1856C3}" type="slidenum">
              <a:rPr lang="fr-FR" sz="800" smtClean="0">
                <a:solidFill>
                  <a:srgbClr val="777777"/>
                </a:solidFill>
                <a:latin typeface="Arial"/>
              </a:rPr>
              <a:pPr defTabSz="914400" eaLnBrk="1" hangingPunct="1"/>
              <a:t>‹#›</a:t>
            </a:fld>
            <a:endParaRPr lang="fr-FR" sz="800" dirty="0">
              <a:solidFill>
                <a:srgbClr val="777777"/>
              </a:solidFill>
              <a:latin typeface="Arial"/>
            </a:endParaRPr>
          </a:p>
        </p:txBody>
      </p:sp>
      <p:pic>
        <p:nvPicPr>
          <p:cNvPr id="8" name="Picture 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14" y="6375400"/>
            <a:ext cx="2192337" cy="328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1520" y="1268760"/>
            <a:ext cx="8640960" cy="4752528"/>
          </a:xfrm>
          <a:noFill/>
          <a:ln>
            <a:noFill/>
          </a:ln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83885501"/>
      </p:ext>
    </p:extLst>
  </p:cSld>
  <p:clrMapOvr>
    <a:masterClrMapping/>
  </p:clrMapOvr>
  <p:transition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 vert cl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815" name="Diapositive think-cell" r:id="rId7" imgW="270" imgH="270" progId="TCLayout.ActiveDocument.1">
                  <p:embed/>
                </p:oleObj>
              </mc:Choice>
              <mc:Fallback>
                <p:oleObj name="Diapositive think-cell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>
            <p:custDataLst>
              <p:tags r:id="rId3"/>
            </p:custDataLst>
          </p:nvPr>
        </p:nvSpPr>
        <p:spPr>
          <a:xfrm>
            <a:off x="215900" y="660400"/>
            <a:ext cx="1746250" cy="55768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hangingPunct="1"/>
            <a:endParaRPr lang="en-US">
              <a:solidFill>
                <a:srgbClr val="FFFFFF"/>
              </a:solidFill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9" name="Rectangle 8"/>
          <p:cNvSpPr/>
          <p:nvPr userDrawn="1">
            <p:custDataLst>
              <p:tags r:id="rId4"/>
            </p:custDataLst>
          </p:nvPr>
        </p:nvSpPr>
        <p:spPr>
          <a:xfrm>
            <a:off x="1951039" y="660400"/>
            <a:ext cx="6969125" cy="5576888"/>
          </a:xfrm>
          <a:prstGeom prst="rect">
            <a:avLst/>
          </a:prstGeom>
          <a:solidFill>
            <a:srgbClr val="F5F0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hangingPunct="1"/>
            <a:endParaRPr lang="en-US">
              <a:solidFill>
                <a:srgbClr val="FFFFFF"/>
              </a:solidFill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5540" y="1344916"/>
            <a:ext cx="1467383" cy="2427055"/>
          </a:xfrm>
        </p:spPr>
        <p:txBody>
          <a:bodyPr/>
          <a:lstStyle>
            <a:lvl1pPr>
              <a:lnSpc>
                <a:spcPts val="1600"/>
              </a:lnSpc>
              <a:defRPr sz="1600" b="1" cap="all" baseline="0"/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195736" y="1197319"/>
            <a:ext cx="1872208" cy="4516169"/>
          </a:xfrm>
        </p:spPr>
        <p:txBody>
          <a:bodyPr/>
          <a:lstStyle>
            <a:lvl1pPr marL="0" indent="0">
              <a:defRPr sz="1600"/>
            </a:lvl1pPr>
            <a:lvl2pPr marL="0" indent="0">
              <a:defRPr sz="1600"/>
            </a:lvl2pPr>
            <a:lvl3pPr marL="0" indent="0">
              <a:defRPr sz="1600"/>
            </a:lvl3pPr>
            <a:lvl4pPr marL="0" indent="0">
              <a:defRPr sz="1600"/>
            </a:lvl4pPr>
            <a:lvl5pPr marL="0" indent="0">
              <a:defRPr sz="16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7" name="Espace réservé pour une image  6"/>
          <p:cNvSpPr>
            <a:spLocks noGrp="1"/>
          </p:cNvSpPr>
          <p:nvPr>
            <p:ph type="pic" sz="quarter" idx="13"/>
          </p:nvPr>
        </p:nvSpPr>
        <p:spPr>
          <a:xfrm>
            <a:off x="4312693" y="660912"/>
            <a:ext cx="2149522" cy="5576400"/>
          </a:xfrm>
        </p:spPr>
        <p:txBody>
          <a:bodyPr rtlCol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4"/>
          </p:nvPr>
        </p:nvSpPr>
        <p:spPr>
          <a:xfrm>
            <a:off x="395540" y="876940"/>
            <a:ext cx="1467383" cy="404935"/>
          </a:xfrm>
        </p:spPr>
        <p:txBody>
          <a:bodyPr/>
          <a:lstStyle>
            <a:lvl1pPr>
              <a:lnSpc>
                <a:spcPts val="1000"/>
              </a:lnSpc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 smtClean="0"/>
              <a:t>Modifiez les styles du texte du masque</a:t>
            </a:r>
            <a:endParaRPr lang="en-US" dirty="0"/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5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B15334D1-744E-4B4D-B5EA-B8670A4935DC}" type="slidenum">
              <a:rPr lang="fr-FR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38703283"/>
      </p:ext>
    </p:extLst>
  </p:cSld>
  <p:clrMapOvr>
    <a:masterClrMapping/>
  </p:clrMapOvr>
  <p:transition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re et contenu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76" name="Diapositive think-cell" r:id="rId10" imgW="270" imgH="270" progId="TCLayout.ActiveDocument.1">
                  <p:embed/>
                </p:oleObj>
              </mc:Choice>
              <mc:Fallback>
                <p:oleObj name="Diapositive think-cell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443" t="-96817"/>
          <a:stretch>
            <a:fillRect/>
          </a:stretch>
        </p:blipFill>
        <p:spPr bwMode="auto">
          <a:xfrm>
            <a:off x="609600" y="6018213"/>
            <a:ext cx="1643063" cy="762000"/>
          </a:xfrm>
          <a:prstGeom prst="rect">
            <a:avLst/>
          </a:prstGeom>
          <a:solidFill>
            <a:srgbClr val="FFFFFF"/>
          </a:solidFill>
          <a:ln w="9525">
            <a:solidFill>
              <a:srgbClr val="FFFFFF"/>
            </a:solidFill>
            <a:miter lim="800000"/>
            <a:headEnd/>
            <a:tailEnd/>
          </a:ln>
        </p:spPr>
      </p:pic>
      <p:cxnSp>
        <p:nvCxnSpPr>
          <p:cNvPr id="9" name="Straight Connector 16"/>
          <p:cNvCxnSpPr>
            <a:cxnSpLocks noChangeShapeType="1"/>
          </p:cNvCxnSpPr>
          <p:nvPr userDrawn="1">
            <p:custDataLst>
              <p:tags r:id="rId4"/>
            </p:custDataLst>
          </p:nvPr>
        </p:nvCxnSpPr>
        <p:spPr bwMode="auto">
          <a:xfrm rot="10800000" flipH="1">
            <a:off x="666750" y="6286500"/>
            <a:ext cx="7937500" cy="0"/>
          </a:xfrm>
          <a:prstGeom prst="line">
            <a:avLst/>
          </a:prstGeom>
          <a:noFill/>
          <a:ln w="12700" algn="ctr">
            <a:solidFill>
              <a:srgbClr val="777777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" name="Connecteur droit 13"/>
          <p:cNvCxnSpPr>
            <a:cxnSpLocks noChangeShapeType="1"/>
          </p:cNvCxnSpPr>
          <p:nvPr userDrawn="1">
            <p:custDataLst>
              <p:tags r:id="rId5"/>
            </p:custDataLst>
          </p:nvPr>
        </p:nvCxnSpPr>
        <p:spPr bwMode="auto">
          <a:xfrm rot="5400000" flipH="1" flipV="1">
            <a:off x="8153422" y="6500843"/>
            <a:ext cx="112713" cy="1587"/>
          </a:xfrm>
          <a:prstGeom prst="line">
            <a:avLst/>
          </a:prstGeom>
          <a:noFill/>
          <a:ln w="6350" algn="ctr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aphicFrame>
        <p:nvGraphicFramePr>
          <p:cNvPr id="11" name="Objet 9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77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 userDrawn="1">
            <p:custDataLst>
              <p:tags r:id="rId7"/>
            </p:custDataLst>
          </p:nvPr>
        </p:nvSpPr>
        <p:spPr>
          <a:xfrm>
            <a:off x="215900" y="660400"/>
            <a:ext cx="1746250" cy="55768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hangingPunct="1"/>
            <a:endParaRPr lang="en-US">
              <a:solidFill>
                <a:srgbClr val="FFFFFF"/>
              </a:solidFill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14" name="Rectangle 13"/>
          <p:cNvSpPr/>
          <p:nvPr userDrawn="1">
            <p:custDataLst>
              <p:tags r:id="rId8"/>
            </p:custDataLst>
          </p:nvPr>
        </p:nvSpPr>
        <p:spPr>
          <a:xfrm>
            <a:off x="1951039" y="660400"/>
            <a:ext cx="6969125" cy="5576888"/>
          </a:xfrm>
          <a:prstGeom prst="rect">
            <a:avLst/>
          </a:prstGeom>
          <a:solidFill>
            <a:srgbClr val="F5F0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hangingPunct="1"/>
            <a:endParaRPr lang="en-US">
              <a:solidFill>
                <a:srgbClr val="FFFFFF"/>
              </a:solidFill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5540" y="1177528"/>
            <a:ext cx="1467383" cy="2427055"/>
          </a:xfrm>
        </p:spPr>
        <p:txBody>
          <a:bodyPr/>
          <a:lstStyle>
            <a:lvl1pPr>
              <a:lnSpc>
                <a:spcPts val="1600"/>
              </a:lnSpc>
              <a:defRPr sz="1600" b="1" cap="all" baseline="0"/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195736" y="1029923"/>
            <a:ext cx="1872208" cy="4516169"/>
          </a:xfrm>
        </p:spPr>
        <p:txBody>
          <a:bodyPr/>
          <a:lstStyle>
            <a:lvl1pPr marL="0" indent="0">
              <a:defRPr sz="1600"/>
            </a:lvl1pPr>
            <a:lvl2pPr marL="0" indent="0">
              <a:defRPr sz="1600"/>
            </a:lvl2pPr>
            <a:lvl3pPr marL="0" indent="0">
              <a:defRPr sz="1600"/>
            </a:lvl3pPr>
            <a:lvl4pPr marL="0" indent="0">
              <a:defRPr sz="1600"/>
            </a:lvl4pPr>
            <a:lvl5pPr marL="0" indent="0"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7" name="Espace réservé pour une image  6"/>
          <p:cNvSpPr>
            <a:spLocks noGrp="1"/>
          </p:cNvSpPr>
          <p:nvPr>
            <p:ph type="pic" sz="quarter" idx="13"/>
          </p:nvPr>
        </p:nvSpPr>
        <p:spPr>
          <a:xfrm>
            <a:off x="4312693" y="660912"/>
            <a:ext cx="2149522" cy="5576400"/>
          </a:xfrm>
        </p:spPr>
        <p:txBody>
          <a:bodyPr rtlCol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4"/>
          </p:nvPr>
        </p:nvSpPr>
        <p:spPr>
          <a:xfrm>
            <a:off x="395540" y="709543"/>
            <a:ext cx="1467383" cy="287767"/>
          </a:xfrm>
        </p:spPr>
        <p:txBody>
          <a:bodyPr/>
          <a:lstStyle>
            <a:lvl1pPr>
              <a:lnSpc>
                <a:spcPts val="1000"/>
              </a:lnSpc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 smtClean="0"/>
              <a:t>Modifiez les styles du texte du masqu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9687761"/>
      </p:ext>
    </p:extLst>
  </p:cSld>
  <p:clrMapOvr>
    <a:masterClrMapping/>
  </p:clrMapOvr>
  <p:transition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25635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87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A0C6CBA3-07E0-4E5A-9CBC-84DDD6F6213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26457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7571" y="4"/>
            <a:ext cx="8545484" cy="841375"/>
          </a:xfrm>
        </p:spPr>
        <p:txBody>
          <a:bodyPr/>
          <a:lstStyle>
            <a:lvl1pPr>
              <a:defRPr sz="24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07571" y="1321724"/>
            <a:ext cx="4173942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6815" y="1321724"/>
            <a:ext cx="4206240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CCA6D8E2-A421-439A-9542-C7671204AF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129553"/>
      </p:ext>
    </p:extLst>
  </p:cSld>
  <p:clrMapOvr>
    <a:masterClrMapping/>
  </p:clrMapOvr>
  <p:transition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8" y="4"/>
            <a:ext cx="8537171" cy="84137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182E74FB-98A9-4760-AAB1-CA40FB5892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958388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7571" y="0"/>
            <a:ext cx="8545484" cy="841375"/>
          </a:xfrm>
        </p:spPr>
        <p:txBody>
          <a:bodyPr/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07571" y="1321723"/>
            <a:ext cx="4173942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6815" y="1321723"/>
            <a:ext cx="4206240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CA6D8E2-A421-439A-9542-C7671204AF4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6957996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nofi Country_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744663" y="0"/>
            <a:ext cx="7399337" cy="6027738"/>
          </a:xfrm>
          <a:prstGeom prst="rect">
            <a:avLst/>
          </a:prstGeom>
          <a:solidFill>
            <a:srgbClr val="F5F0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8000" y="3181422"/>
            <a:ext cx="1312200" cy="19389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GB" noProof="0"/>
              <a:t>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0" y="720000"/>
            <a:ext cx="3942000" cy="1772793"/>
          </a:xfrm>
        </p:spPr>
        <p:txBody>
          <a:bodyPr/>
          <a:lstStyle>
            <a:lvl1pPr>
              <a:defRPr sz="200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  <a:endParaRPr lang="en-GB" noProof="0" dirty="0"/>
          </a:p>
          <a:p>
            <a:pPr lvl="1"/>
            <a:r>
              <a:rPr lang="en-GB" noProof="0"/>
              <a:t>Text level 2</a:t>
            </a:r>
            <a:endParaRPr lang="en-GB" noProof="0" dirty="0"/>
          </a:p>
          <a:p>
            <a:pPr lvl="2"/>
            <a:r>
              <a:rPr lang="en-GB" noProof="0"/>
              <a:t>Text level 3</a:t>
            </a:r>
            <a:endParaRPr lang="en-GB" noProof="0" dirty="0"/>
          </a:p>
          <a:p>
            <a:pPr lvl="3"/>
            <a:r>
              <a:rPr lang="en-GB" noProof="0"/>
              <a:t>Text level 4</a:t>
            </a:r>
            <a:endParaRPr lang="en-GB" noProof="0" dirty="0"/>
          </a:p>
          <a:p>
            <a:pPr lvl="4"/>
            <a:r>
              <a:rPr lang="en-GB" noProof="0"/>
              <a:t>Text level 5</a:t>
            </a:r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646464"/>
                </a:solidFill>
              </a:rPr>
              <a:t>Corporate presentation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449E3F-F7A8-47F1-A579-B94246E0A518}" type="slidenum">
              <a:rPr lang="en-GB" smtClean="0">
                <a:solidFill>
                  <a:srgbClr val="646464"/>
                </a:solidFill>
              </a:rPr>
              <a:pPr/>
              <a:t>‹#›</a:t>
            </a:fld>
            <a:endParaRPr lang="en-GB" dirty="0">
              <a:solidFill>
                <a:srgbClr val="646464"/>
              </a:solidFill>
            </a:endParaRPr>
          </a:p>
        </p:txBody>
      </p:sp>
      <p:sp>
        <p:nvSpPr>
          <p:cNvPr id="7" name="Forme libre 6"/>
          <p:cNvSpPr>
            <a:spLocks noChangeAspect="1"/>
          </p:cNvSpPr>
          <p:nvPr userDrawn="1"/>
        </p:nvSpPr>
        <p:spPr>
          <a:xfrm>
            <a:off x="0" y="2770869"/>
            <a:ext cx="243000" cy="486000"/>
          </a:xfrm>
          <a:custGeom>
            <a:avLst/>
            <a:gdLst>
              <a:gd name="connsiteX0" fmla="*/ 0 w 243000"/>
              <a:gd name="connsiteY0" fmla="*/ 0 h 486000"/>
              <a:gd name="connsiteX1" fmla="*/ 243000 w 243000"/>
              <a:gd name="connsiteY1" fmla="*/ 243000 h 486000"/>
              <a:gd name="connsiteX2" fmla="*/ 0 w 243000"/>
              <a:gd name="connsiteY2" fmla="*/ 486000 h 4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3000" h="486000">
                <a:moveTo>
                  <a:pt x="0" y="0"/>
                </a:moveTo>
                <a:cubicBezTo>
                  <a:pt x="134205" y="0"/>
                  <a:pt x="243000" y="108795"/>
                  <a:pt x="243000" y="243000"/>
                </a:cubicBezTo>
                <a:cubicBezTo>
                  <a:pt x="243000" y="377205"/>
                  <a:pt x="134205" y="486000"/>
                  <a:pt x="0" y="48600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9" name="Espace réservé pour une image  9"/>
          <p:cNvSpPr>
            <a:spLocks noGrp="1"/>
          </p:cNvSpPr>
          <p:nvPr>
            <p:ph type="pic" sz="quarter" idx="13"/>
          </p:nvPr>
        </p:nvSpPr>
        <p:spPr>
          <a:xfrm>
            <a:off x="1744662" y="0"/>
            <a:ext cx="2160000" cy="60264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27" name="Espace réservé du texte 28"/>
          <p:cNvSpPr>
            <a:spLocks noGrp="1"/>
          </p:cNvSpPr>
          <p:nvPr>
            <p:ph type="body" sz="quarter" idx="14" hasCustomPrompt="1"/>
          </p:nvPr>
        </p:nvSpPr>
        <p:spPr>
          <a:xfrm>
            <a:off x="288000" y="2944620"/>
            <a:ext cx="1312200" cy="1246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00" b="0" cap="all" baseline="0">
                <a:solidFill>
                  <a:schemeClr val="accent2"/>
                </a:solidFill>
              </a:defRPr>
            </a:lvl1pPr>
            <a:lvl2pPr>
              <a:lnSpc>
                <a:spcPct val="90000"/>
              </a:lnSpc>
              <a:spcBef>
                <a:spcPts val="600"/>
              </a:spcBef>
              <a:defRPr sz="900"/>
            </a:lvl2pPr>
            <a:lvl3pPr>
              <a:lnSpc>
                <a:spcPct val="90000"/>
              </a:lnSpc>
              <a:spcBef>
                <a:spcPts val="600"/>
              </a:spcBef>
              <a:defRPr sz="900"/>
            </a:lvl3pPr>
            <a:lvl4pPr>
              <a:lnSpc>
                <a:spcPct val="90000"/>
              </a:lnSpc>
              <a:spcBef>
                <a:spcPts val="600"/>
              </a:spcBef>
              <a:defRPr sz="900"/>
            </a:lvl4pPr>
            <a:lvl5pPr>
              <a:lnSpc>
                <a:spcPct val="90000"/>
              </a:lnSpc>
              <a:spcBef>
                <a:spcPts val="600"/>
              </a:spcBef>
              <a:defRPr sz="900"/>
            </a:lvl5pPr>
          </a:lstStyle>
          <a:p>
            <a:pPr lvl="0"/>
            <a:r>
              <a:rPr lang="fr-FR"/>
              <a:t>Text</a:t>
            </a:r>
          </a:p>
        </p:txBody>
      </p:sp>
      <p:sp>
        <p:nvSpPr>
          <p:cNvPr id="26" name="Espace réservé du texte 5"/>
          <p:cNvSpPr>
            <a:spLocks noGrp="1"/>
          </p:cNvSpPr>
          <p:nvPr>
            <p:ph type="body" sz="quarter" idx="15" hasCustomPrompt="1"/>
          </p:nvPr>
        </p:nvSpPr>
        <p:spPr>
          <a:xfrm>
            <a:off x="1952331" y="5850000"/>
            <a:ext cx="1798402" cy="105476"/>
          </a:xfrm>
        </p:spPr>
        <p:txBody>
          <a:bodyPr/>
          <a:lstStyle>
            <a:lvl1pPr algn="l">
              <a:lnSpc>
                <a:spcPct val="90000"/>
              </a:lnSpc>
              <a:defRPr sz="800" b="0"/>
            </a:lvl1pPr>
            <a:lvl2pPr algn="r">
              <a:lnSpc>
                <a:spcPct val="90000"/>
              </a:lnSpc>
              <a:spcBef>
                <a:spcPts val="0"/>
              </a:spcBef>
              <a:defRPr sz="800"/>
            </a:lvl2pPr>
            <a:lvl3pPr algn="r">
              <a:lnSpc>
                <a:spcPct val="90000"/>
              </a:lnSpc>
              <a:spcBef>
                <a:spcPts val="0"/>
              </a:spcBef>
              <a:defRPr sz="800"/>
            </a:lvl3pPr>
            <a:lvl4pPr algn="r">
              <a:lnSpc>
                <a:spcPct val="90000"/>
              </a:lnSpc>
              <a:spcBef>
                <a:spcPts val="0"/>
              </a:spcBef>
              <a:defRPr sz="800"/>
            </a:lvl4pPr>
            <a:lvl5pPr algn="r">
              <a:lnSpc>
                <a:spcPct val="90000"/>
              </a:lnSpc>
              <a:spcBef>
                <a:spcPts val="0"/>
              </a:spcBef>
              <a:defRPr sz="800"/>
            </a:lvl5pPr>
          </a:lstStyle>
          <a:p>
            <a:pPr lvl="0"/>
            <a:r>
              <a:rPr lang="fr-FR"/>
              <a:t>Photography credits</a:t>
            </a:r>
          </a:p>
        </p:txBody>
      </p:sp>
    </p:spTree>
    <p:extLst>
      <p:ext uri="{BB962C8B-B14F-4D97-AF65-F5344CB8AC3E}">
        <p14:creationId xmlns:p14="http://schemas.microsoft.com/office/powerpoint/2010/main" val="537069355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1E535B98-BEBB-425D-BC8E-307821EDBA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3642284"/>
      </p:ext>
    </p:extLst>
  </p:cSld>
  <p:clrMapOvr>
    <a:masterClrMapping/>
  </p:clrMapOvr>
  <p:transition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age dégag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557216"/>
            <a:ext cx="9144000" cy="7318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96E64F78-AC8F-42E3-9C77-64ECDFE42C1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3116623"/>
      </p:ext>
    </p:extLst>
  </p:cSld>
  <p:clrMapOvr>
    <a:masterClrMapping/>
  </p:clrMapOvr>
  <p:transition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>
  <p:cSld name="Titre et texte sur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2633" y="1"/>
            <a:ext cx="8613660" cy="847899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282633" y="1246909"/>
            <a:ext cx="8613660" cy="2326555"/>
          </a:xfrm>
        </p:spPr>
        <p:txBody>
          <a:bodyPr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82633" y="3763082"/>
            <a:ext cx="8613660" cy="2328215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8943645"/>
      </p:ext>
    </p:extLst>
  </p:cSld>
  <p:clrMapOvr>
    <a:masterClrMapping/>
  </p:clrMapOvr>
  <p:transition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9" descr="fond_150dpi_bleu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 b="1460"/>
          <a:stretch>
            <a:fillRect/>
          </a:stretch>
        </p:blipFill>
        <p:spPr bwMode="auto">
          <a:xfrm>
            <a:off x="0" y="2"/>
            <a:ext cx="9144000" cy="6275388"/>
          </a:xfrm>
          <a:prstGeom prst="rect">
            <a:avLst/>
          </a:prstGeom>
          <a:solidFill>
            <a:srgbClr val="45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9" y="2176493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quez pour modifier le style du titr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quez pour modifier le style des sous-titres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8E7423CB-C39B-46B7-9A76-B744759BC04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7205170"/>
      </p:ext>
    </p:extLst>
  </p:cSld>
  <p:clrMapOvr>
    <a:masterClrMapping/>
  </p:clrMapOvr>
  <p:transition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 userDrawn="1"/>
        </p:nvSpPr>
        <p:spPr bwMode="auto">
          <a:xfrm>
            <a:off x="0" y="0"/>
            <a:ext cx="9144000" cy="6318251"/>
          </a:xfrm>
          <a:prstGeom prst="rect">
            <a:avLst/>
          </a:prstGeom>
          <a:solidFill>
            <a:srgbClr val="44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4400" eaLnBrk="1" hangingPunct="1"/>
            <a:endParaRPr lang="en-US">
              <a:solidFill>
                <a:srgbClr val="444492"/>
              </a:solidFill>
              <a:latin typeface="Arial"/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8CA6FA23-9279-480B-970E-FA3CDB69460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5036611"/>
      </p:ext>
    </p:extLst>
  </p:cSld>
  <p:clrMapOvr>
    <a:masterClrMapping/>
  </p:clrMapOvr>
  <p:transition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9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11"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9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 flipH="1">
            <a:off x="631825" y="5949951"/>
            <a:ext cx="7972425" cy="673100"/>
          </a:xfrm>
          <a:prstGeom prst="rect">
            <a:avLst/>
          </a:prstGeom>
          <a:solidFill>
            <a:srgbClr val="FFFFFF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hangingPunct="1"/>
            <a:endParaRPr lang="fr-FR">
              <a:solidFill>
                <a:srgbClr val="FFFFFF"/>
              </a:solidFill>
              <a:ea typeface="MS PGothic" pitchFamily="34" charset="-128"/>
            </a:endParaRPr>
          </a:p>
        </p:txBody>
      </p:sp>
      <p:cxnSp>
        <p:nvCxnSpPr>
          <p:cNvPr id="6" name="Straight Connector 16"/>
          <p:cNvCxnSpPr/>
          <p:nvPr/>
        </p:nvCxnSpPr>
        <p:spPr>
          <a:xfrm>
            <a:off x="631825" y="6286500"/>
            <a:ext cx="797242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13"/>
          <p:cNvSpPr>
            <a:spLocks noChangeArrowheads="1"/>
          </p:cNvSpPr>
          <p:nvPr/>
        </p:nvSpPr>
        <p:spPr bwMode="auto">
          <a:xfrm>
            <a:off x="8388350" y="6372225"/>
            <a:ext cx="755650" cy="4143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defTabSz="914400" eaLnBrk="1" hangingPunct="1"/>
            <a:r>
              <a:rPr lang="fr-FR" sz="800" smtClean="0">
                <a:solidFill>
                  <a:srgbClr val="777777"/>
                </a:solidFill>
                <a:latin typeface="Arial"/>
              </a:rPr>
              <a:t>|   </a:t>
            </a:r>
            <a:fld id="{52CDBE10-BEB4-40E5-A095-3E3BDD1856C3}" type="slidenum">
              <a:rPr lang="fr-FR" sz="800" smtClean="0">
                <a:solidFill>
                  <a:srgbClr val="777777"/>
                </a:solidFill>
                <a:latin typeface="Arial"/>
              </a:rPr>
              <a:pPr defTabSz="914400" eaLnBrk="1" hangingPunct="1"/>
              <a:t>‹#›</a:t>
            </a:fld>
            <a:endParaRPr lang="fr-FR" sz="800" dirty="0">
              <a:solidFill>
                <a:srgbClr val="777777"/>
              </a:solidFill>
              <a:latin typeface="Arial"/>
            </a:endParaRPr>
          </a:p>
        </p:txBody>
      </p:sp>
      <p:pic>
        <p:nvPicPr>
          <p:cNvPr id="8" name="Picture 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14" y="6375400"/>
            <a:ext cx="2192337" cy="328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1520" y="1268760"/>
            <a:ext cx="8640960" cy="4752528"/>
          </a:xfrm>
          <a:noFill/>
          <a:ln>
            <a:noFill/>
          </a:ln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99609028"/>
      </p:ext>
    </p:extLst>
  </p:cSld>
  <p:clrMapOvr>
    <a:masterClrMapping/>
  </p:clrMapOvr>
  <p:transition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 vert cl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35" name="Diapositive think-cell" r:id="rId7" imgW="270" imgH="270" progId="TCLayout.ActiveDocument.1">
                  <p:embed/>
                </p:oleObj>
              </mc:Choice>
              <mc:Fallback>
                <p:oleObj name="Diapositive think-cell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>
            <p:custDataLst>
              <p:tags r:id="rId3"/>
            </p:custDataLst>
          </p:nvPr>
        </p:nvSpPr>
        <p:spPr>
          <a:xfrm>
            <a:off x="215900" y="660400"/>
            <a:ext cx="1746250" cy="55768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hangingPunct="1"/>
            <a:endParaRPr lang="en-US">
              <a:solidFill>
                <a:srgbClr val="FFFFFF"/>
              </a:solidFill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9" name="Rectangle 8"/>
          <p:cNvSpPr/>
          <p:nvPr userDrawn="1">
            <p:custDataLst>
              <p:tags r:id="rId4"/>
            </p:custDataLst>
          </p:nvPr>
        </p:nvSpPr>
        <p:spPr>
          <a:xfrm>
            <a:off x="1951039" y="660400"/>
            <a:ext cx="6969125" cy="5576888"/>
          </a:xfrm>
          <a:prstGeom prst="rect">
            <a:avLst/>
          </a:prstGeom>
          <a:solidFill>
            <a:srgbClr val="F5F0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hangingPunct="1"/>
            <a:endParaRPr lang="en-US">
              <a:solidFill>
                <a:srgbClr val="FFFFFF"/>
              </a:solidFill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5540" y="1344916"/>
            <a:ext cx="1467383" cy="2427055"/>
          </a:xfrm>
        </p:spPr>
        <p:txBody>
          <a:bodyPr/>
          <a:lstStyle>
            <a:lvl1pPr>
              <a:lnSpc>
                <a:spcPts val="1600"/>
              </a:lnSpc>
              <a:defRPr sz="1600" b="1" cap="all" baseline="0"/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195736" y="1197319"/>
            <a:ext cx="1872208" cy="4516169"/>
          </a:xfrm>
        </p:spPr>
        <p:txBody>
          <a:bodyPr/>
          <a:lstStyle>
            <a:lvl1pPr marL="0" indent="0">
              <a:defRPr sz="1600"/>
            </a:lvl1pPr>
            <a:lvl2pPr marL="0" indent="0">
              <a:defRPr sz="1600"/>
            </a:lvl2pPr>
            <a:lvl3pPr marL="0" indent="0">
              <a:defRPr sz="1600"/>
            </a:lvl3pPr>
            <a:lvl4pPr marL="0" indent="0">
              <a:defRPr sz="1600"/>
            </a:lvl4pPr>
            <a:lvl5pPr marL="0" indent="0">
              <a:defRPr sz="16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7" name="Espace réservé pour une image  6"/>
          <p:cNvSpPr>
            <a:spLocks noGrp="1"/>
          </p:cNvSpPr>
          <p:nvPr>
            <p:ph type="pic" sz="quarter" idx="13"/>
          </p:nvPr>
        </p:nvSpPr>
        <p:spPr>
          <a:xfrm>
            <a:off x="4312693" y="660912"/>
            <a:ext cx="2149522" cy="5576400"/>
          </a:xfrm>
        </p:spPr>
        <p:txBody>
          <a:bodyPr rtlCol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4"/>
          </p:nvPr>
        </p:nvSpPr>
        <p:spPr>
          <a:xfrm>
            <a:off x="395540" y="876940"/>
            <a:ext cx="1467383" cy="404935"/>
          </a:xfrm>
        </p:spPr>
        <p:txBody>
          <a:bodyPr/>
          <a:lstStyle>
            <a:lvl1pPr>
              <a:lnSpc>
                <a:spcPts val="1000"/>
              </a:lnSpc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 smtClean="0"/>
              <a:t>Modifiez les styles du texte du masque</a:t>
            </a:r>
            <a:endParaRPr lang="en-US" dirty="0"/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5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B15334D1-744E-4B4D-B5EA-B8670A4935DC}" type="slidenum">
              <a:rPr lang="fr-FR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11367913"/>
      </p:ext>
    </p:extLst>
  </p:cSld>
  <p:clrMapOvr>
    <a:masterClrMapping/>
  </p:clrMapOvr>
  <p:transition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re et contenu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96" name="Diapositive think-cell" r:id="rId10" imgW="270" imgH="270" progId="TCLayout.ActiveDocument.1">
                  <p:embed/>
                </p:oleObj>
              </mc:Choice>
              <mc:Fallback>
                <p:oleObj name="Diapositive think-cell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443" t="-96817"/>
          <a:stretch>
            <a:fillRect/>
          </a:stretch>
        </p:blipFill>
        <p:spPr bwMode="auto">
          <a:xfrm>
            <a:off x="609600" y="6018213"/>
            <a:ext cx="1643063" cy="762000"/>
          </a:xfrm>
          <a:prstGeom prst="rect">
            <a:avLst/>
          </a:prstGeom>
          <a:solidFill>
            <a:srgbClr val="FFFFFF"/>
          </a:solidFill>
          <a:ln w="9525">
            <a:solidFill>
              <a:srgbClr val="FFFFFF"/>
            </a:solidFill>
            <a:miter lim="800000"/>
            <a:headEnd/>
            <a:tailEnd/>
          </a:ln>
        </p:spPr>
      </p:pic>
      <p:cxnSp>
        <p:nvCxnSpPr>
          <p:cNvPr id="9" name="Straight Connector 16"/>
          <p:cNvCxnSpPr>
            <a:cxnSpLocks noChangeShapeType="1"/>
          </p:cNvCxnSpPr>
          <p:nvPr userDrawn="1">
            <p:custDataLst>
              <p:tags r:id="rId4"/>
            </p:custDataLst>
          </p:nvPr>
        </p:nvCxnSpPr>
        <p:spPr bwMode="auto">
          <a:xfrm rot="10800000" flipH="1">
            <a:off x="666750" y="6286500"/>
            <a:ext cx="7937500" cy="0"/>
          </a:xfrm>
          <a:prstGeom prst="line">
            <a:avLst/>
          </a:prstGeom>
          <a:noFill/>
          <a:ln w="12700" algn="ctr">
            <a:solidFill>
              <a:srgbClr val="777777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" name="Connecteur droit 13"/>
          <p:cNvCxnSpPr>
            <a:cxnSpLocks noChangeShapeType="1"/>
          </p:cNvCxnSpPr>
          <p:nvPr userDrawn="1">
            <p:custDataLst>
              <p:tags r:id="rId5"/>
            </p:custDataLst>
          </p:nvPr>
        </p:nvCxnSpPr>
        <p:spPr bwMode="auto">
          <a:xfrm rot="5400000" flipH="1" flipV="1">
            <a:off x="8153422" y="6500843"/>
            <a:ext cx="112713" cy="1587"/>
          </a:xfrm>
          <a:prstGeom prst="line">
            <a:avLst/>
          </a:prstGeom>
          <a:noFill/>
          <a:ln w="6350" algn="ctr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aphicFrame>
        <p:nvGraphicFramePr>
          <p:cNvPr id="11" name="Objet 9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97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 userDrawn="1">
            <p:custDataLst>
              <p:tags r:id="rId7"/>
            </p:custDataLst>
          </p:nvPr>
        </p:nvSpPr>
        <p:spPr>
          <a:xfrm>
            <a:off x="215900" y="660400"/>
            <a:ext cx="1746250" cy="55768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hangingPunct="1"/>
            <a:endParaRPr lang="en-US">
              <a:solidFill>
                <a:srgbClr val="FFFFFF"/>
              </a:solidFill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14" name="Rectangle 13"/>
          <p:cNvSpPr/>
          <p:nvPr userDrawn="1">
            <p:custDataLst>
              <p:tags r:id="rId8"/>
            </p:custDataLst>
          </p:nvPr>
        </p:nvSpPr>
        <p:spPr>
          <a:xfrm>
            <a:off x="1951039" y="660400"/>
            <a:ext cx="6969125" cy="5576888"/>
          </a:xfrm>
          <a:prstGeom prst="rect">
            <a:avLst/>
          </a:prstGeom>
          <a:solidFill>
            <a:srgbClr val="F5F0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hangingPunct="1"/>
            <a:endParaRPr lang="en-US">
              <a:solidFill>
                <a:srgbClr val="FFFFFF"/>
              </a:solidFill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5540" y="1177528"/>
            <a:ext cx="1467383" cy="2427055"/>
          </a:xfrm>
        </p:spPr>
        <p:txBody>
          <a:bodyPr/>
          <a:lstStyle>
            <a:lvl1pPr>
              <a:lnSpc>
                <a:spcPts val="1600"/>
              </a:lnSpc>
              <a:defRPr sz="1600" b="1" cap="all" baseline="0"/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195736" y="1029923"/>
            <a:ext cx="1872208" cy="4516169"/>
          </a:xfrm>
        </p:spPr>
        <p:txBody>
          <a:bodyPr/>
          <a:lstStyle>
            <a:lvl1pPr marL="0" indent="0">
              <a:defRPr sz="1600"/>
            </a:lvl1pPr>
            <a:lvl2pPr marL="0" indent="0">
              <a:defRPr sz="1600"/>
            </a:lvl2pPr>
            <a:lvl3pPr marL="0" indent="0">
              <a:defRPr sz="1600"/>
            </a:lvl3pPr>
            <a:lvl4pPr marL="0" indent="0">
              <a:defRPr sz="1600"/>
            </a:lvl4pPr>
            <a:lvl5pPr marL="0" indent="0"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7" name="Espace réservé pour une image  6"/>
          <p:cNvSpPr>
            <a:spLocks noGrp="1"/>
          </p:cNvSpPr>
          <p:nvPr>
            <p:ph type="pic" sz="quarter" idx="13"/>
          </p:nvPr>
        </p:nvSpPr>
        <p:spPr>
          <a:xfrm>
            <a:off x="4312693" y="660912"/>
            <a:ext cx="2149522" cy="5576400"/>
          </a:xfrm>
        </p:spPr>
        <p:txBody>
          <a:bodyPr rtlCol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4"/>
          </p:nvPr>
        </p:nvSpPr>
        <p:spPr>
          <a:xfrm>
            <a:off x="395540" y="709543"/>
            <a:ext cx="1467383" cy="287767"/>
          </a:xfrm>
        </p:spPr>
        <p:txBody>
          <a:bodyPr/>
          <a:lstStyle>
            <a:lvl1pPr>
              <a:lnSpc>
                <a:spcPts val="1000"/>
              </a:lnSpc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 smtClean="0"/>
              <a:t>Modifiez les styles du texte du masqu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2020305"/>
      </p:ext>
    </p:extLst>
  </p:cSld>
  <p:clrMapOvr>
    <a:masterClrMapping/>
  </p:clrMapOvr>
  <p:transition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69598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07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A0C6CBA3-07E0-4E5A-9CBC-84DDD6F6213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77557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7571" y="4"/>
            <a:ext cx="8545484" cy="841375"/>
          </a:xfrm>
        </p:spPr>
        <p:txBody>
          <a:bodyPr/>
          <a:lstStyle>
            <a:lvl1pPr>
              <a:defRPr sz="24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07571" y="1321724"/>
            <a:ext cx="4173942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6815" y="1321724"/>
            <a:ext cx="4206240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CCA6D8E2-A421-439A-9542-C7671204AF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353029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nofi Country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744663" y="0"/>
            <a:ext cx="7399337" cy="6027738"/>
          </a:xfrm>
          <a:prstGeom prst="rect">
            <a:avLst/>
          </a:prstGeom>
          <a:solidFill>
            <a:srgbClr val="F5F0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8000" y="3181422"/>
            <a:ext cx="1312200" cy="19389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GB" noProof="0"/>
              <a:t>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268000" y="720001"/>
            <a:ext cx="2622431" cy="694732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  <a:endParaRPr lang="en-GB" noProof="0" dirty="0"/>
          </a:p>
          <a:p>
            <a:pPr lvl="1"/>
            <a:r>
              <a:rPr lang="en-GB" noProof="0"/>
              <a:t>Text level 2</a:t>
            </a:r>
            <a:endParaRPr lang="en-GB" noProof="0" dirty="0"/>
          </a:p>
          <a:p>
            <a:pPr lvl="2"/>
            <a:r>
              <a:rPr lang="en-GB" noProof="0"/>
              <a:t>Text level 3</a:t>
            </a:r>
            <a:endParaRPr lang="en-GB" noProof="0" dirty="0"/>
          </a:p>
          <a:p>
            <a:pPr lvl="3"/>
            <a:r>
              <a:rPr lang="en-GB" noProof="0"/>
              <a:t>Text level 4</a:t>
            </a:r>
            <a:endParaRPr lang="en-GB" noProof="0" dirty="0"/>
          </a:p>
          <a:p>
            <a:pPr lvl="4"/>
            <a:r>
              <a:rPr lang="en-GB" noProof="0"/>
              <a:t>Text level 5</a:t>
            </a:r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646464"/>
                </a:solidFill>
              </a:rPr>
              <a:t>Corporate presentation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449E3F-F7A8-47F1-A579-B94246E0A518}" type="slidenum">
              <a:rPr lang="en-GB" smtClean="0">
                <a:solidFill>
                  <a:srgbClr val="646464"/>
                </a:solidFill>
              </a:rPr>
              <a:pPr/>
              <a:t>‹#›</a:t>
            </a:fld>
            <a:endParaRPr lang="en-GB" dirty="0">
              <a:solidFill>
                <a:srgbClr val="646464"/>
              </a:solidFill>
            </a:endParaRPr>
          </a:p>
        </p:txBody>
      </p:sp>
      <p:sp>
        <p:nvSpPr>
          <p:cNvPr id="7" name="Forme libre 6"/>
          <p:cNvSpPr>
            <a:spLocks noChangeAspect="1"/>
          </p:cNvSpPr>
          <p:nvPr userDrawn="1"/>
        </p:nvSpPr>
        <p:spPr>
          <a:xfrm>
            <a:off x="0" y="2770869"/>
            <a:ext cx="243000" cy="486000"/>
          </a:xfrm>
          <a:custGeom>
            <a:avLst/>
            <a:gdLst>
              <a:gd name="connsiteX0" fmla="*/ 0 w 243000"/>
              <a:gd name="connsiteY0" fmla="*/ 0 h 486000"/>
              <a:gd name="connsiteX1" fmla="*/ 243000 w 243000"/>
              <a:gd name="connsiteY1" fmla="*/ 243000 h 486000"/>
              <a:gd name="connsiteX2" fmla="*/ 0 w 243000"/>
              <a:gd name="connsiteY2" fmla="*/ 486000 h 4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3000" h="486000">
                <a:moveTo>
                  <a:pt x="0" y="0"/>
                </a:moveTo>
                <a:cubicBezTo>
                  <a:pt x="134205" y="0"/>
                  <a:pt x="243000" y="108795"/>
                  <a:pt x="243000" y="243000"/>
                </a:cubicBezTo>
                <a:cubicBezTo>
                  <a:pt x="243000" y="377205"/>
                  <a:pt x="134205" y="486000"/>
                  <a:pt x="0" y="48600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7" name="Espace réservé du texte 28"/>
          <p:cNvSpPr>
            <a:spLocks noGrp="1"/>
          </p:cNvSpPr>
          <p:nvPr>
            <p:ph type="body" sz="quarter" idx="14" hasCustomPrompt="1"/>
          </p:nvPr>
        </p:nvSpPr>
        <p:spPr>
          <a:xfrm>
            <a:off x="288000" y="2944620"/>
            <a:ext cx="1312200" cy="1246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00" b="0" cap="all" baseline="0">
                <a:solidFill>
                  <a:schemeClr val="accent2"/>
                </a:solidFill>
              </a:defRPr>
            </a:lvl1pPr>
            <a:lvl2pPr>
              <a:lnSpc>
                <a:spcPct val="90000"/>
              </a:lnSpc>
              <a:spcBef>
                <a:spcPts val="600"/>
              </a:spcBef>
              <a:defRPr sz="900"/>
            </a:lvl2pPr>
            <a:lvl3pPr>
              <a:lnSpc>
                <a:spcPct val="90000"/>
              </a:lnSpc>
              <a:spcBef>
                <a:spcPts val="600"/>
              </a:spcBef>
              <a:defRPr sz="900"/>
            </a:lvl3pPr>
            <a:lvl4pPr>
              <a:lnSpc>
                <a:spcPct val="90000"/>
              </a:lnSpc>
              <a:spcBef>
                <a:spcPts val="600"/>
              </a:spcBef>
              <a:defRPr sz="900"/>
            </a:lvl4pPr>
            <a:lvl5pPr>
              <a:lnSpc>
                <a:spcPct val="90000"/>
              </a:lnSpc>
              <a:spcBef>
                <a:spcPts val="600"/>
              </a:spcBef>
              <a:defRPr sz="900"/>
            </a:lvl5pPr>
          </a:lstStyle>
          <a:p>
            <a:pPr lvl="0"/>
            <a:r>
              <a:rPr lang="fr-FR"/>
              <a:t>Text</a:t>
            </a:r>
          </a:p>
        </p:txBody>
      </p:sp>
      <p:sp>
        <p:nvSpPr>
          <p:cNvPr id="8" name="Espace réservé du graphique 7"/>
          <p:cNvSpPr>
            <a:spLocks noGrp="1"/>
          </p:cNvSpPr>
          <p:nvPr>
            <p:ph type="chart" sz="quarter" idx="15" hasCustomPrompt="1"/>
          </p:nvPr>
        </p:nvSpPr>
        <p:spPr>
          <a:xfrm>
            <a:off x="2268000" y="1875174"/>
            <a:ext cx="2622430" cy="363969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fr-FR" dirty="0"/>
              <a:t>Chart</a:t>
            </a:r>
          </a:p>
        </p:txBody>
      </p:sp>
      <p:sp>
        <p:nvSpPr>
          <p:cNvPr id="28" name="Espace réservé du graphique 7"/>
          <p:cNvSpPr>
            <a:spLocks noGrp="1"/>
          </p:cNvSpPr>
          <p:nvPr>
            <p:ph type="chart" sz="quarter" idx="16" hasCustomPrompt="1"/>
          </p:nvPr>
        </p:nvSpPr>
        <p:spPr>
          <a:xfrm>
            <a:off x="5891570" y="1875174"/>
            <a:ext cx="2622430" cy="363969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fr-FR" dirty="0"/>
              <a:t>Chart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17" hasCustomPrompt="1"/>
          </p:nvPr>
        </p:nvSpPr>
        <p:spPr>
          <a:xfrm>
            <a:off x="5891570" y="720001"/>
            <a:ext cx="2622431" cy="694732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  <a:endParaRPr lang="en-GB" noProof="0" dirty="0"/>
          </a:p>
          <a:p>
            <a:pPr lvl="1"/>
            <a:r>
              <a:rPr lang="en-GB" noProof="0"/>
              <a:t>Text level 2</a:t>
            </a:r>
            <a:endParaRPr lang="en-GB" noProof="0" dirty="0"/>
          </a:p>
          <a:p>
            <a:pPr lvl="2"/>
            <a:r>
              <a:rPr lang="en-GB" noProof="0"/>
              <a:t>Text level 3</a:t>
            </a:r>
            <a:endParaRPr lang="en-GB" noProof="0" dirty="0"/>
          </a:p>
          <a:p>
            <a:pPr lvl="3"/>
            <a:r>
              <a:rPr lang="en-GB" noProof="0"/>
              <a:t>Text level 4</a:t>
            </a:r>
            <a:endParaRPr lang="en-GB" noProof="0" dirty="0"/>
          </a:p>
          <a:p>
            <a:pPr lvl="4"/>
            <a:r>
              <a:rPr lang="en-GB" noProof="0"/>
              <a:t>Text level 5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72970338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49574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31" name="Diapositive think-cell" r:id="rId4" imgW="416" imgH="416" progId="TCLayout.ActiveDocument.1">
                  <p:embed/>
                </p:oleObj>
              </mc:Choice>
              <mc:Fallback>
                <p:oleObj name="Diapositive think-cell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8" y="4"/>
            <a:ext cx="8537171" cy="84137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182E74FB-98A9-4760-AAB1-CA40FB5892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2402379"/>
      </p:ext>
    </p:extLst>
  </p:cSld>
  <p:clrMapOvr>
    <a:masterClrMapping/>
  </p:clrMapOvr>
  <p:transition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1E535B98-BEBB-425D-BC8E-307821EDBA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4535355"/>
      </p:ext>
    </p:extLst>
  </p:cSld>
  <p:clrMapOvr>
    <a:masterClrMapping/>
  </p:clrMapOvr>
  <p:transition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age dégag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86436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55" name="Diapositive think-cell" r:id="rId4" imgW="416" imgH="416" progId="TCLayout.ActiveDocument.1">
                  <p:embed/>
                </p:oleObj>
              </mc:Choice>
              <mc:Fallback>
                <p:oleObj name="Diapositive think-cell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/>
        </p:nvSpPr>
        <p:spPr>
          <a:xfrm>
            <a:off x="0" y="557216"/>
            <a:ext cx="9144000" cy="7318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96E64F78-AC8F-42E3-9C77-64ECDFE42C1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867257"/>
      </p:ext>
    </p:extLst>
  </p:cSld>
  <p:clrMapOvr>
    <a:masterClrMapping/>
  </p:clrMapOvr>
  <p:transition>
    <p:fade/>
  </p:transition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>
  <p:cSld name="Titre et texte sur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2633" y="1"/>
            <a:ext cx="8613660" cy="847899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282633" y="1246909"/>
            <a:ext cx="8613660" cy="2326555"/>
          </a:xfrm>
        </p:spPr>
        <p:txBody>
          <a:bodyPr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82633" y="3763082"/>
            <a:ext cx="8613660" cy="2328215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4512270"/>
      </p:ext>
    </p:extLst>
  </p:cSld>
  <p:clrMapOvr>
    <a:masterClrMapping/>
  </p:clrMapOvr>
  <p:transition>
    <p:fade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9" descr="fond_150dpi_bleu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 b="1460"/>
          <a:stretch>
            <a:fillRect/>
          </a:stretch>
        </p:blipFill>
        <p:spPr bwMode="auto">
          <a:xfrm>
            <a:off x="0" y="2"/>
            <a:ext cx="9144000" cy="6275388"/>
          </a:xfrm>
          <a:prstGeom prst="rect">
            <a:avLst/>
          </a:prstGeom>
          <a:solidFill>
            <a:srgbClr val="45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9" y="2176493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quez pour modifier le style du titr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quez pour modifier le style des sous-titres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8E7423CB-C39B-46B7-9A76-B744759BC04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071997"/>
      </p:ext>
    </p:extLst>
  </p:cSld>
  <p:clrMapOvr>
    <a:masterClrMapping/>
  </p:clrMapOvr>
  <p:transition>
    <p:fade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 userDrawn="1"/>
        </p:nvSpPr>
        <p:spPr bwMode="auto">
          <a:xfrm>
            <a:off x="0" y="0"/>
            <a:ext cx="9144000" cy="6318251"/>
          </a:xfrm>
          <a:prstGeom prst="rect">
            <a:avLst/>
          </a:prstGeom>
          <a:solidFill>
            <a:srgbClr val="44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4400" eaLnBrk="1" hangingPunct="1"/>
            <a:endParaRPr lang="en-US">
              <a:solidFill>
                <a:srgbClr val="444492"/>
              </a:solidFill>
              <a:latin typeface="Arial"/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8CA6FA23-9279-480B-970E-FA3CDB69460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1133206"/>
      </p:ext>
    </p:extLst>
  </p:cSld>
  <p:clrMapOvr>
    <a:masterClrMapping/>
  </p:clrMapOvr>
  <p:transition>
    <p:fade/>
  </p:transition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9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79"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9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 flipH="1">
            <a:off x="631825" y="5949951"/>
            <a:ext cx="7972425" cy="673100"/>
          </a:xfrm>
          <a:prstGeom prst="rect">
            <a:avLst/>
          </a:prstGeom>
          <a:solidFill>
            <a:srgbClr val="FFFFFF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hangingPunct="1"/>
            <a:endParaRPr lang="fr-FR">
              <a:solidFill>
                <a:srgbClr val="FFFFFF"/>
              </a:solidFill>
              <a:ea typeface="MS PGothic" pitchFamily="34" charset="-128"/>
            </a:endParaRPr>
          </a:p>
        </p:txBody>
      </p:sp>
      <p:cxnSp>
        <p:nvCxnSpPr>
          <p:cNvPr id="6" name="Straight Connector 16"/>
          <p:cNvCxnSpPr/>
          <p:nvPr/>
        </p:nvCxnSpPr>
        <p:spPr>
          <a:xfrm>
            <a:off x="631825" y="6286500"/>
            <a:ext cx="797242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13"/>
          <p:cNvSpPr>
            <a:spLocks noChangeArrowheads="1"/>
          </p:cNvSpPr>
          <p:nvPr/>
        </p:nvSpPr>
        <p:spPr bwMode="auto">
          <a:xfrm>
            <a:off x="8388350" y="6372225"/>
            <a:ext cx="755650" cy="4143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defTabSz="914400" eaLnBrk="1" hangingPunct="1"/>
            <a:r>
              <a:rPr lang="fr-FR" sz="800" smtClean="0">
                <a:solidFill>
                  <a:srgbClr val="777777"/>
                </a:solidFill>
                <a:latin typeface="Arial"/>
              </a:rPr>
              <a:t>|   </a:t>
            </a:r>
            <a:fld id="{52CDBE10-BEB4-40E5-A095-3E3BDD1856C3}" type="slidenum">
              <a:rPr lang="fr-FR" sz="800" smtClean="0">
                <a:solidFill>
                  <a:srgbClr val="777777"/>
                </a:solidFill>
                <a:latin typeface="Arial"/>
              </a:rPr>
              <a:pPr defTabSz="914400" eaLnBrk="1" hangingPunct="1"/>
              <a:t>‹#›</a:t>
            </a:fld>
            <a:endParaRPr lang="fr-FR" sz="800" dirty="0">
              <a:solidFill>
                <a:srgbClr val="777777"/>
              </a:solidFill>
              <a:latin typeface="Arial"/>
            </a:endParaRPr>
          </a:p>
        </p:txBody>
      </p:sp>
      <p:pic>
        <p:nvPicPr>
          <p:cNvPr id="8" name="Picture 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14" y="6375400"/>
            <a:ext cx="2192337" cy="328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1520" y="1268760"/>
            <a:ext cx="8640960" cy="4752528"/>
          </a:xfrm>
          <a:noFill/>
          <a:ln>
            <a:noFill/>
          </a:ln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52655780"/>
      </p:ext>
    </p:extLst>
  </p:cSld>
  <p:clrMapOvr>
    <a:masterClrMapping/>
  </p:clrMapOvr>
  <p:transition>
    <p:fade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 vert cl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03" name="Diapositive think-cell" r:id="rId7" imgW="270" imgH="270" progId="TCLayout.ActiveDocument.1">
                  <p:embed/>
                </p:oleObj>
              </mc:Choice>
              <mc:Fallback>
                <p:oleObj name="Diapositive think-cell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>
            <p:custDataLst>
              <p:tags r:id="rId3"/>
            </p:custDataLst>
          </p:nvPr>
        </p:nvSpPr>
        <p:spPr>
          <a:xfrm>
            <a:off x="215900" y="660400"/>
            <a:ext cx="1746250" cy="55768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hangingPunct="1"/>
            <a:endParaRPr lang="en-US">
              <a:solidFill>
                <a:srgbClr val="FFFFFF"/>
              </a:solidFill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9" name="Rectangle 8"/>
          <p:cNvSpPr/>
          <p:nvPr userDrawn="1">
            <p:custDataLst>
              <p:tags r:id="rId4"/>
            </p:custDataLst>
          </p:nvPr>
        </p:nvSpPr>
        <p:spPr>
          <a:xfrm>
            <a:off x="1951039" y="660400"/>
            <a:ext cx="6969125" cy="5576888"/>
          </a:xfrm>
          <a:prstGeom prst="rect">
            <a:avLst/>
          </a:prstGeom>
          <a:solidFill>
            <a:srgbClr val="F5F0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hangingPunct="1"/>
            <a:endParaRPr lang="en-US">
              <a:solidFill>
                <a:srgbClr val="FFFFFF"/>
              </a:solidFill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5540" y="1344916"/>
            <a:ext cx="1467383" cy="2427055"/>
          </a:xfrm>
        </p:spPr>
        <p:txBody>
          <a:bodyPr/>
          <a:lstStyle>
            <a:lvl1pPr>
              <a:lnSpc>
                <a:spcPts val="1600"/>
              </a:lnSpc>
              <a:defRPr sz="1600" b="1" cap="all" baseline="0"/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195736" y="1197319"/>
            <a:ext cx="1872208" cy="4516169"/>
          </a:xfrm>
        </p:spPr>
        <p:txBody>
          <a:bodyPr/>
          <a:lstStyle>
            <a:lvl1pPr marL="0" indent="0">
              <a:defRPr sz="1600"/>
            </a:lvl1pPr>
            <a:lvl2pPr marL="0" indent="0">
              <a:defRPr sz="1600"/>
            </a:lvl2pPr>
            <a:lvl3pPr marL="0" indent="0">
              <a:defRPr sz="1600"/>
            </a:lvl3pPr>
            <a:lvl4pPr marL="0" indent="0">
              <a:defRPr sz="1600"/>
            </a:lvl4pPr>
            <a:lvl5pPr marL="0" indent="0">
              <a:defRPr sz="16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7" name="Espace réservé pour une image  6"/>
          <p:cNvSpPr>
            <a:spLocks noGrp="1"/>
          </p:cNvSpPr>
          <p:nvPr>
            <p:ph type="pic" sz="quarter" idx="13"/>
          </p:nvPr>
        </p:nvSpPr>
        <p:spPr>
          <a:xfrm>
            <a:off x="4312693" y="660912"/>
            <a:ext cx="2149522" cy="5576400"/>
          </a:xfrm>
        </p:spPr>
        <p:txBody>
          <a:bodyPr rtlCol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4"/>
          </p:nvPr>
        </p:nvSpPr>
        <p:spPr>
          <a:xfrm>
            <a:off x="395540" y="876940"/>
            <a:ext cx="1467383" cy="404935"/>
          </a:xfrm>
        </p:spPr>
        <p:txBody>
          <a:bodyPr/>
          <a:lstStyle>
            <a:lvl1pPr>
              <a:lnSpc>
                <a:spcPts val="1000"/>
              </a:lnSpc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 smtClean="0"/>
              <a:t>Modifiez les styles du texte du masque</a:t>
            </a:r>
            <a:endParaRPr lang="en-US" dirty="0"/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5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B15334D1-744E-4B4D-B5EA-B8670A4935DC}" type="slidenum">
              <a:rPr lang="fr-FR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56362712"/>
      </p:ext>
    </p:extLst>
  </p:cSld>
  <p:clrMapOvr>
    <a:masterClrMapping/>
  </p:clrMapOvr>
  <p:transition>
    <p:fade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re et contenu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64" name="Diapositive think-cell" r:id="rId10" imgW="270" imgH="270" progId="TCLayout.ActiveDocument.1">
                  <p:embed/>
                </p:oleObj>
              </mc:Choice>
              <mc:Fallback>
                <p:oleObj name="Diapositive think-cell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443" t="-96817"/>
          <a:stretch>
            <a:fillRect/>
          </a:stretch>
        </p:blipFill>
        <p:spPr bwMode="auto">
          <a:xfrm>
            <a:off x="609600" y="6018213"/>
            <a:ext cx="1643063" cy="762000"/>
          </a:xfrm>
          <a:prstGeom prst="rect">
            <a:avLst/>
          </a:prstGeom>
          <a:solidFill>
            <a:srgbClr val="FFFFFF"/>
          </a:solidFill>
          <a:ln w="9525">
            <a:solidFill>
              <a:srgbClr val="FFFFFF"/>
            </a:solidFill>
            <a:miter lim="800000"/>
            <a:headEnd/>
            <a:tailEnd/>
          </a:ln>
        </p:spPr>
      </p:pic>
      <p:cxnSp>
        <p:nvCxnSpPr>
          <p:cNvPr id="9" name="Straight Connector 16"/>
          <p:cNvCxnSpPr>
            <a:cxnSpLocks noChangeShapeType="1"/>
          </p:cNvCxnSpPr>
          <p:nvPr userDrawn="1">
            <p:custDataLst>
              <p:tags r:id="rId4"/>
            </p:custDataLst>
          </p:nvPr>
        </p:nvCxnSpPr>
        <p:spPr bwMode="auto">
          <a:xfrm rot="10800000" flipH="1">
            <a:off x="666750" y="6286500"/>
            <a:ext cx="7937500" cy="0"/>
          </a:xfrm>
          <a:prstGeom prst="line">
            <a:avLst/>
          </a:prstGeom>
          <a:noFill/>
          <a:ln w="12700" algn="ctr">
            <a:solidFill>
              <a:srgbClr val="777777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" name="Connecteur droit 13"/>
          <p:cNvCxnSpPr>
            <a:cxnSpLocks noChangeShapeType="1"/>
          </p:cNvCxnSpPr>
          <p:nvPr userDrawn="1">
            <p:custDataLst>
              <p:tags r:id="rId5"/>
            </p:custDataLst>
          </p:nvPr>
        </p:nvCxnSpPr>
        <p:spPr bwMode="auto">
          <a:xfrm rot="5400000" flipH="1" flipV="1">
            <a:off x="8153422" y="6500843"/>
            <a:ext cx="112713" cy="1587"/>
          </a:xfrm>
          <a:prstGeom prst="line">
            <a:avLst/>
          </a:prstGeom>
          <a:noFill/>
          <a:ln w="6350" algn="ctr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aphicFrame>
        <p:nvGraphicFramePr>
          <p:cNvPr id="11" name="Objet 9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65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 userDrawn="1">
            <p:custDataLst>
              <p:tags r:id="rId7"/>
            </p:custDataLst>
          </p:nvPr>
        </p:nvSpPr>
        <p:spPr>
          <a:xfrm>
            <a:off x="215900" y="660400"/>
            <a:ext cx="1746250" cy="55768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hangingPunct="1"/>
            <a:endParaRPr lang="en-US">
              <a:solidFill>
                <a:srgbClr val="FFFFFF"/>
              </a:solidFill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14" name="Rectangle 13"/>
          <p:cNvSpPr/>
          <p:nvPr userDrawn="1">
            <p:custDataLst>
              <p:tags r:id="rId8"/>
            </p:custDataLst>
          </p:nvPr>
        </p:nvSpPr>
        <p:spPr>
          <a:xfrm>
            <a:off x="1951039" y="660400"/>
            <a:ext cx="6969125" cy="5576888"/>
          </a:xfrm>
          <a:prstGeom prst="rect">
            <a:avLst/>
          </a:prstGeom>
          <a:solidFill>
            <a:srgbClr val="F5F0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hangingPunct="1"/>
            <a:endParaRPr lang="en-US">
              <a:solidFill>
                <a:srgbClr val="FFFFFF"/>
              </a:solidFill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5540" y="1177528"/>
            <a:ext cx="1467383" cy="2427055"/>
          </a:xfrm>
        </p:spPr>
        <p:txBody>
          <a:bodyPr/>
          <a:lstStyle>
            <a:lvl1pPr>
              <a:lnSpc>
                <a:spcPts val="1600"/>
              </a:lnSpc>
              <a:defRPr sz="1600" b="1" cap="all" baseline="0"/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195736" y="1029923"/>
            <a:ext cx="1872208" cy="4516169"/>
          </a:xfrm>
        </p:spPr>
        <p:txBody>
          <a:bodyPr/>
          <a:lstStyle>
            <a:lvl1pPr marL="0" indent="0">
              <a:defRPr sz="1600"/>
            </a:lvl1pPr>
            <a:lvl2pPr marL="0" indent="0">
              <a:defRPr sz="1600"/>
            </a:lvl2pPr>
            <a:lvl3pPr marL="0" indent="0">
              <a:defRPr sz="1600"/>
            </a:lvl3pPr>
            <a:lvl4pPr marL="0" indent="0">
              <a:defRPr sz="1600"/>
            </a:lvl4pPr>
            <a:lvl5pPr marL="0" indent="0"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7" name="Espace réservé pour une image  6"/>
          <p:cNvSpPr>
            <a:spLocks noGrp="1"/>
          </p:cNvSpPr>
          <p:nvPr>
            <p:ph type="pic" sz="quarter" idx="13"/>
          </p:nvPr>
        </p:nvSpPr>
        <p:spPr>
          <a:xfrm>
            <a:off x="4312693" y="660912"/>
            <a:ext cx="2149522" cy="5576400"/>
          </a:xfrm>
        </p:spPr>
        <p:txBody>
          <a:bodyPr rtlCol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4"/>
          </p:nvPr>
        </p:nvSpPr>
        <p:spPr>
          <a:xfrm>
            <a:off x="395540" y="709543"/>
            <a:ext cx="1467383" cy="287767"/>
          </a:xfrm>
        </p:spPr>
        <p:txBody>
          <a:bodyPr/>
          <a:lstStyle>
            <a:lvl1pPr>
              <a:lnSpc>
                <a:spcPts val="1000"/>
              </a:lnSpc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 smtClean="0"/>
              <a:t>Modifiez les styles du texte du masqu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6950251"/>
      </p:ext>
    </p:extLst>
  </p:cSld>
  <p:clrMapOvr>
    <a:masterClrMapping/>
  </p:clrMapOvr>
  <p:transition>
    <p:fade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99961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75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A0C6CBA3-07E0-4E5A-9CBC-84DDD6F6213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00275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nofi Country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744663" y="0"/>
            <a:ext cx="7399337" cy="6027738"/>
          </a:xfrm>
          <a:prstGeom prst="rect">
            <a:avLst/>
          </a:prstGeom>
          <a:solidFill>
            <a:srgbClr val="F5F0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8000" y="3181422"/>
            <a:ext cx="1312200" cy="19389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GB" noProof="0"/>
              <a:t>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485607" y="720000"/>
            <a:ext cx="5917449" cy="572035"/>
          </a:xfrm>
        </p:spPr>
        <p:txBody>
          <a:bodyPr>
            <a:noAutofit/>
          </a:bodyPr>
          <a:lstStyle>
            <a:lvl1pPr>
              <a:defRPr sz="200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  <a:endParaRPr lang="en-GB" noProof="0" dirty="0"/>
          </a:p>
          <a:p>
            <a:pPr lvl="1"/>
            <a:r>
              <a:rPr lang="en-GB" noProof="0"/>
              <a:t>Text level 2</a:t>
            </a:r>
            <a:endParaRPr lang="en-GB" noProof="0" dirty="0"/>
          </a:p>
          <a:p>
            <a:pPr lvl="2"/>
            <a:r>
              <a:rPr lang="en-GB" noProof="0"/>
              <a:t>Text level 3</a:t>
            </a:r>
            <a:endParaRPr lang="en-GB" noProof="0" dirty="0"/>
          </a:p>
          <a:p>
            <a:pPr lvl="3"/>
            <a:r>
              <a:rPr lang="en-GB" noProof="0"/>
              <a:t>Text level 4</a:t>
            </a:r>
            <a:endParaRPr lang="en-GB" noProof="0" dirty="0"/>
          </a:p>
          <a:p>
            <a:pPr lvl="4"/>
            <a:r>
              <a:rPr lang="en-GB" noProof="0"/>
              <a:t>Text level 5</a:t>
            </a:r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646464"/>
                </a:solidFill>
              </a:rPr>
              <a:t>Corporate presentation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449E3F-F7A8-47F1-A579-B94246E0A518}" type="slidenum">
              <a:rPr lang="en-GB" smtClean="0">
                <a:solidFill>
                  <a:srgbClr val="646464"/>
                </a:solidFill>
              </a:rPr>
              <a:pPr/>
              <a:t>‹#›</a:t>
            </a:fld>
            <a:endParaRPr lang="en-GB" dirty="0">
              <a:solidFill>
                <a:srgbClr val="646464"/>
              </a:solidFill>
            </a:endParaRPr>
          </a:p>
        </p:txBody>
      </p:sp>
      <p:sp>
        <p:nvSpPr>
          <p:cNvPr id="7" name="Forme libre 6"/>
          <p:cNvSpPr>
            <a:spLocks noChangeAspect="1"/>
          </p:cNvSpPr>
          <p:nvPr userDrawn="1"/>
        </p:nvSpPr>
        <p:spPr>
          <a:xfrm>
            <a:off x="0" y="2770869"/>
            <a:ext cx="243000" cy="486000"/>
          </a:xfrm>
          <a:custGeom>
            <a:avLst/>
            <a:gdLst>
              <a:gd name="connsiteX0" fmla="*/ 0 w 243000"/>
              <a:gd name="connsiteY0" fmla="*/ 0 h 486000"/>
              <a:gd name="connsiteX1" fmla="*/ 243000 w 243000"/>
              <a:gd name="connsiteY1" fmla="*/ 243000 h 486000"/>
              <a:gd name="connsiteX2" fmla="*/ 0 w 243000"/>
              <a:gd name="connsiteY2" fmla="*/ 486000 h 4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3000" h="486000">
                <a:moveTo>
                  <a:pt x="0" y="0"/>
                </a:moveTo>
                <a:cubicBezTo>
                  <a:pt x="134205" y="0"/>
                  <a:pt x="243000" y="108795"/>
                  <a:pt x="243000" y="243000"/>
                </a:cubicBezTo>
                <a:cubicBezTo>
                  <a:pt x="243000" y="377205"/>
                  <a:pt x="134205" y="486000"/>
                  <a:pt x="0" y="48600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7" name="Espace réservé du texte 28"/>
          <p:cNvSpPr>
            <a:spLocks noGrp="1"/>
          </p:cNvSpPr>
          <p:nvPr>
            <p:ph type="body" sz="quarter" idx="14" hasCustomPrompt="1"/>
          </p:nvPr>
        </p:nvSpPr>
        <p:spPr>
          <a:xfrm>
            <a:off x="288000" y="2944620"/>
            <a:ext cx="1312200" cy="12465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900" b="0" cap="all" baseline="0">
                <a:solidFill>
                  <a:schemeClr val="accent2"/>
                </a:solidFill>
              </a:defRPr>
            </a:lvl1pPr>
            <a:lvl2pPr>
              <a:lnSpc>
                <a:spcPct val="90000"/>
              </a:lnSpc>
              <a:spcBef>
                <a:spcPts val="600"/>
              </a:spcBef>
              <a:defRPr sz="900"/>
            </a:lvl2pPr>
            <a:lvl3pPr>
              <a:lnSpc>
                <a:spcPct val="90000"/>
              </a:lnSpc>
              <a:spcBef>
                <a:spcPts val="600"/>
              </a:spcBef>
              <a:defRPr sz="900"/>
            </a:lvl3pPr>
            <a:lvl4pPr>
              <a:lnSpc>
                <a:spcPct val="90000"/>
              </a:lnSpc>
              <a:spcBef>
                <a:spcPts val="600"/>
              </a:spcBef>
              <a:defRPr sz="900"/>
            </a:lvl4pPr>
            <a:lvl5pPr>
              <a:lnSpc>
                <a:spcPct val="90000"/>
              </a:lnSpc>
              <a:spcBef>
                <a:spcPts val="600"/>
              </a:spcBef>
              <a:defRPr sz="900"/>
            </a:lvl5pPr>
          </a:lstStyle>
          <a:p>
            <a:pPr lvl="0"/>
            <a:r>
              <a:rPr lang="fr-FR"/>
              <a:t>Text</a:t>
            </a:r>
          </a:p>
        </p:txBody>
      </p:sp>
      <p:sp>
        <p:nvSpPr>
          <p:cNvPr id="9" name="Espace réservé du tableau 8"/>
          <p:cNvSpPr>
            <a:spLocks noGrp="1"/>
          </p:cNvSpPr>
          <p:nvPr>
            <p:ph type="tbl" sz="quarter" idx="17" hasCustomPrompt="1"/>
          </p:nvPr>
        </p:nvSpPr>
        <p:spPr>
          <a:xfrm>
            <a:off x="2486025" y="1682152"/>
            <a:ext cx="5916613" cy="383282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fr-FR" dirty="0"/>
              <a:t>Table</a:t>
            </a:r>
          </a:p>
        </p:txBody>
      </p:sp>
    </p:spTree>
    <p:extLst>
      <p:ext uri="{BB962C8B-B14F-4D97-AF65-F5344CB8AC3E}">
        <p14:creationId xmlns:p14="http://schemas.microsoft.com/office/powerpoint/2010/main" val="983196537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7571" y="4"/>
            <a:ext cx="8545484" cy="841375"/>
          </a:xfrm>
        </p:spPr>
        <p:txBody>
          <a:bodyPr/>
          <a:lstStyle>
            <a:lvl1pPr>
              <a:defRPr sz="24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07571" y="1321724"/>
            <a:ext cx="4173942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6815" y="1321724"/>
            <a:ext cx="4206240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CCA6D8E2-A421-439A-9542-C7671204AF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714835"/>
      </p:ext>
    </p:extLst>
  </p:cSld>
  <p:clrMapOvr>
    <a:masterClrMapping/>
  </p:clrMapOvr>
  <p:transition>
    <p:fade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8" y="4"/>
            <a:ext cx="8537171" cy="84137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182E74FB-98A9-4760-AAB1-CA40FB5892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1930096"/>
      </p:ext>
    </p:extLst>
  </p:cSld>
  <p:clrMapOvr>
    <a:masterClrMapping/>
  </p:clrMapOvr>
  <p:transition>
    <p:fade/>
  </p:transition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1E535B98-BEBB-425D-BC8E-307821EDBA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5890882"/>
      </p:ext>
    </p:extLst>
  </p:cSld>
  <p:clrMapOvr>
    <a:masterClrMapping/>
  </p:clrMapOvr>
  <p:transition>
    <p:fade/>
  </p:transition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age dégag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557216"/>
            <a:ext cx="9144000" cy="7318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96E64F78-AC8F-42E3-9C77-64ECDFE42C1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9827194"/>
      </p:ext>
    </p:extLst>
  </p:cSld>
  <p:clrMapOvr>
    <a:masterClrMapping/>
  </p:clrMapOvr>
  <p:transition>
    <p:fade/>
  </p:transition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>
  <p:cSld name="Titre et texte sur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2633" y="1"/>
            <a:ext cx="8613660" cy="847899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282633" y="1246909"/>
            <a:ext cx="8613660" cy="2326555"/>
          </a:xfrm>
        </p:spPr>
        <p:txBody>
          <a:bodyPr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82633" y="3763082"/>
            <a:ext cx="8613660" cy="2328215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0174237"/>
      </p:ext>
    </p:extLst>
  </p:cSld>
  <p:clrMapOvr>
    <a:masterClrMapping/>
  </p:clrMapOvr>
  <p:transition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9" descr="fond_150dpi_bleu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 b="1460"/>
          <a:stretch>
            <a:fillRect/>
          </a:stretch>
        </p:blipFill>
        <p:spPr bwMode="auto">
          <a:xfrm>
            <a:off x="0" y="2"/>
            <a:ext cx="9144000" cy="6275388"/>
          </a:xfrm>
          <a:prstGeom prst="rect">
            <a:avLst/>
          </a:prstGeom>
          <a:solidFill>
            <a:srgbClr val="45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9" y="2176493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quez pour modifier le style du titr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quez pour modifier le style des sous-titres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8E7423CB-C39B-46B7-9A76-B744759BC04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4002694"/>
      </p:ext>
    </p:extLst>
  </p:cSld>
  <p:clrMapOvr>
    <a:masterClrMapping/>
  </p:clrMapOvr>
  <p:transition>
    <p:fade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 userDrawn="1"/>
        </p:nvSpPr>
        <p:spPr bwMode="auto">
          <a:xfrm>
            <a:off x="0" y="0"/>
            <a:ext cx="9144000" cy="6318251"/>
          </a:xfrm>
          <a:prstGeom prst="rect">
            <a:avLst/>
          </a:prstGeom>
          <a:solidFill>
            <a:srgbClr val="44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4400" eaLnBrk="1" hangingPunct="1"/>
            <a:endParaRPr lang="en-US">
              <a:solidFill>
                <a:srgbClr val="444492"/>
              </a:solidFill>
              <a:latin typeface="Arial"/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8CA6FA23-9279-480B-970E-FA3CDB69460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799073"/>
      </p:ext>
    </p:extLst>
  </p:cSld>
  <p:clrMapOvr>
    <a:masterClrMapping/>
  </p:clrMapOvr>
  <p:transition>
    <p:fade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29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199"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9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 flipH="1">
            <a:off x="631825" y="5949951"/>
            <a:ext cx="7972425" cy="673100"/>
          </a:xfrm>
          <a:prstGeom prst="rect">
            <a:avLst/>
          </a:prstGeom>
          <a:solidFill>
            <a:srgbClr val="FFFFFF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hangingPunct="1"/>
            <a:endParaRPr lang="fr-FR">
              <a:solidFill>
                <a:srgbClr val="FFFFFF"/>
              </a:solidFill>
              <a:ea typeface="MS PGothic" pitchFamily="34" charset="-128"/>
            </a:endParaRPr>
          </a:p>
        </p:txBody>
      </p:sp>
      <p:cxnSp>
        <p:nvCxnSpPr>
          <p:cNvPr id="6" name="Straight Connector 16"/>
          <p:cNvCxnSpPr/>
          <p:nvPr/>
        </p:nvCxnSpPr>
        <p:spPr>
          <a:xfrm>
            <a:off x="631825" y="6286500"/>
            <a:ext cx="797242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13"/>
          <p:cNvSpPr>
            <a:spLocks noChangeArrowheads="1"/>
          </p:cNvSpPr>
          <p:nvPr/>
        </p:nvSpPr>
        <p:spPr bwMode="auto">
          <a:xfrm>
            <a:off x="8388350" y="6372225"/>
            <a:ext cx="755650" cy="4143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defTabSz="914400" eaLnBrk="1" hangingPunct="1"/>
            <a:r>
              <a:rPr lang="fr-FR" sz="800" smtClean="0">
                <a:solidFill>
                  <a:srgbClr val="777777"/>
                </a:solidFill>
                <a:latin typeface="Arial"/>
              </a:rPr>
              <a:t>|   </a:t>
            </a:r>
            <a:fld id="{52CDBE10-BEB4-40E5-A095-3E3BDD1856C3}" type="slidenum">
              <a:rPr lang="fr-FR" sz="800" smtClean="0">
                <a:solidFill>
                  <a:srgbClr val="777777"/>
                </a:solidFill>
                <a:latin typeface="Arial"/>
              </a:rPr>
              <a:pPr defTabSz="914400" eaLnBrk="1" hangingPunct="1"/>
              <a:t>‹#›</a:t>
            </a:fld>
            <a:endParaRPr lang="fr-FR" sz="800" dirty="0">
              <a:solidFill>
                <a:srgbClr val="777777"/>
              </a:solidFill>
              <a:latin typeface="Arial"/>
            </a:endParaRPr>
          </a:p>
        </p:txBody>
      </p:sp>
      <p:pic>
        <p:nvPicPr>
          <p:cNvPr id="8" name="Picture 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14" y="6375400"/>
            <a:ext cx="2192337" cy="328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1520" y="1268760"/>
            <a:ext cx="8640960" cy="4752528"/>
          </a:xfrm>
          <a:noFill/>
          <a:ln>
            <a:noFill/>
          </a:ln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58273677"/>
      </p:ext>
    </p:extLst>
  </p:cSld>
  <p:clrMapOvr>
    <a:masterClrMapping/>
  </p:clrMapOvr>
  <p:transition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 vert cl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223" name="Diapositive think-cell" r:id="rId7" imgW="270" imgH="270" progId="TCLayout.ActiveDocument.1">
                  <p:embed/>
                </p:oleObj>
              </mc:Choice>
              <mc:Fallback>
                <p:oleObj name="Diapositive think-cell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>
            <p:custDataLst>
              <p:tags r:id="rId3"/>
            </p:custDataLst>
          </p:nvPr>
        </p:nvSpPr>
        <p:spPr>
          <a:xfrm>
            <a:off x="215900" y="660400"/>
            <a:ext cx="1746250" cy="55768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hangingPunct="1"/>
            <a:endParaRPr lang="en-US">
              <a:solidFill>
                <a:srgbClr val="FFFFFF"/>
              </a:solidFill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9" name="Rectangle 8"/>
          <p:cNvSpPr/>
          <p:nvPr userDrawn="1">
            <p:custDataLst>
              <p:tags r:id="rId4"/>
            </p:custDataLst>
          </p:nvPr>
        </p:nvSpPr>
        <p:spPr>
          <a:xfrm>
            <a:off x="1951039" y="660400"/>
            <a:ext cx="6969125" cy="5576888"/>
          </a:xfrm>
          <a:prstGeom prst="rect">
            <a:avLst/>
          </a:prstGeom>
          <a:solidFill>
            <a:srgbClr val="F5F0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hangingPunct="1"/>
            <a:endParaRPr lang="en-US">
              <a:solidFill>
                <a:srgbClr val="FFFFFF"/>
              </a:solidFill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5540" y="1344916"/>
            <a:ext cx="1467383" cy="2427055"/>
          </a:xfrm>
        </p:spPr>
        <p:txBody>
          <a:bodyPr/>
          <a:lstStyle>
            <a:lvl1pPr>
              <a:lnSpc>
                <a:spcPts val="1600"/>
              </a:lnSpc>
              <a:defRPr sz="1600" b="1" cap="all" baseline="0"/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195736" y="1197319"/>
            <a:ext cx="1872208" cy="4516169"/>
          </a:xfrm>
        </p:spPr>
        <p:txBody>
          <a:bodyPr/>
          <a:lstStyle>
            <a:lvl1pPr marL="0" indent="0">
              <a:defRPr sz="1600"/>
            </a:lvl1pPr>
            <a:lvl2pPr marL="0" indent="0">
              <a:defRPr sz="1600"/>
            </a:lvl2pPr>
            <a:lvl3pPr marL="0" indent="0">
              <a:defRPr sz="1600"/>
            </a:lvl3pPr>
            <a:lvl4pPr marL="0" indent="0">
              <a:defRPr sz="1600"/>
            </a:lvl4pPr>
            <a:lvl5pPr marL="0" indent="0">
              <a:defRPr sz="16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7" name="Espace réservé pour une image  6"/>
          <p:cNvSpPr>
            <a:spLocks noGrp="1"/>
          </p:cNvSpPr>
          <p:nvPr>
            <p:ph type="pic" sz="quarter" idx="13"/>
          </p:nvPr>
        </p:nvSpPr>
        <p:spPr>
          <a:xfrm>
            <a:off x="4312693" y="660912"/>
            <a:ext cx="2149522" cy="5576400"/>
          </a:xfrm>
        </p:spPr>
        <p:txBody>
          <a:bodyPr rtlCol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4"/>
          </p:nvPr>
        </p:nvSpPr>
        <p:spPr>
          <a:xfrm>
            <a:off x="395540" y="876940"/>
            <a:ext cx="1467383" cy="404935"/>
          </a:xfrm>
        </p:spPr>
        <p:txBody>
          <a:bodyPr/>
          <a:lstStyle>
            <a:lvl1pPr>
              <a:lnSpc>
                <a:spcPts val="1000"/>
              </a:lnSpc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 smtClean="0"/>
              <a:t>Modifiez les styles du texte du masque</a:t>
            </a:r>
            <a:endParaRPr lang="en-US" dirty="0"/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5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B15334D1-744E-4B4D-B5EA-B8670A4935DC}" type="slidenum">
              <a:rPr lang="fr-FR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81674002"/>
      </p:ext>
    </p:extLst>
  </p:cSld>
  <p:clrMapOvr>
    <a:masterClrMapping/>
  </p:clrMapOvr>
  <p:transition>
    <p:fade/>
  </p:transition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re et contenu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84" name="Diapositive think-cell" r:id="rId10" imgW="270" imgH="270" progId="TCLayout.ActiveDocument.1">
                  <p:embed/>
                </p:oleObj>
              </mc:Choice>
              <mc:Fallback>
                <p:oleObj name="Diapositive think-cell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443" t="-96817"/>
          <a:stretch>
            <a:fillRect/>
          </a:stretch>
        </p:blipFill>
        <p:spPr bwMode="auto">
          <a:xfrm>
            <a:off x="609600" y="6018213"/>
            <a:ext cx="1643063" cy="762000"/>
          </a:xfrm>
          <a:prstGeom prst="rect">
            <a:avLst/>
          </a:prstGeom>
          <a:solidFill>
            <a:srgbClr val="FFFFFF"/>
          </a:solidFill>
          <a:ln w="9525">
            <a:solidFill>
              <a:srgbClr val="FFFFFF"/>
            </a:solidFill>
            <a:miter lim="800000"/>
            <a:headEnd/>
            <a:tailEnd/>
          </a:ln>
        </p:spPr>
      </p:pic>
      <p:cxnSp>
        <p:nvCxnSpPr>
          <p:cNvPr id="9" name="Straight Connector 16"/>
          <p:cNvCxnSpPr>
            <a:cxnSpLocks noChangeShapeType="1"/>
          </p:cNvCxnSpPr>
          <p:nvPr userDrawn="1">
            <p:custDataLst>
              <p:tags r:id="rId4"/>
            </p:custDataLst>
          </p:nvPr>
        </p:nvCxnSpPr>
        <p:spPr bwMode="auto">
          <a:xfrm rot="10800000" flipH="1">
            <a:off x="666750" y="6286500"/>
            <a:ext cx="7937500" cy="0"/>
          </a:xfrm>
          <a:prstGeom prst="line">
            <a:avLst/>
          </a:prstGeom>
          <a:noFill/>
          <a:ln w="12700" algn="ctr">
            <a:solidFill>
              <a:srgbClr val="777777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" name="Connecteur droit 13"/>
          <p:cNvCxnSpPr>
            <a:cxnSpLocks noChangeShapeType="1"/>
          </p:cNvCxnSpPr>
          <p:nvPr userDrawn="1">
            <p:custDataLst>
              <p:tags r:id="rId5"/>
            </p:custDataLst>
          </p:nvPr>
        </p:nvCxnSpPr>
        <p:spPr bwMode="auto">
          <a:xfrm rot="5400000" flipH="1" flipV="1">
            <a:off x="8153422" y="6500843"/>
            <a:ext cx="112713" cy="1587"/>
          </a:xfrm>
          <a:prstGeom prst="line">
            <a:avLst/>
          </a:prstGeom>
          <a:noFill/>
          <a:ln w="6350" algn="ctr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aphicFrame>
        <p:nvGraphicFramePr>
          <p:cNvPr id="11" name="Objet 9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85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 userDrawn="1">
            <p:custDataLst>
              <p:tags r:id="rId7"/>
            </p:custDataLst>
          </p:nvPr>
        </p:nvSpPr>
        <p:spPr>
          <a:xfrm>
            <a:off x="215900" y="660400"/>
            <a:ext cx="1746250" cy="55768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hangingPunct="1"/>
            <a:endParaRPr lang="en-US">
              <a:solidFill>
                <a:srgbClr val="FFFFFF"/>
              </a:solidFill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14" name="Rectangle 13"/>
          <p:cNvSpPr/>
          <p:nvPr userDrawn="1">
            <p:custDataLst>
              <p:tags r:id="rId8"/>
            </p:custDataLst>
          </p:nvPr>
        </p:nvSpPr>
        <p:spPr>
          <a:xfrm>
            <a:off x="1951039" y="660400"/>
            <a:ext cx="6969125" cy="5576888"/>
          </a:xfrm>
          <a:prstGeom prst="rect">
            <a:avLst/>
          </a:prstGeom>
          <a:solidFill>
            <a:srgbClr val="F5F0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hangingPunct="1"/>
            <a:endParaRPr lang="en-US">
              <a:solidFill>
                <a:srgbClr val="FFFFFF"/>
              </a:solidFill>
              <a:latin typeface="Calibri" pitchFamily="34" charset="0"/>
              <a:ea typeface="MS PGothic" pitchFamily="34" charset="-128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5540" y="1177528"/>
            <a:ext cx="1467383" cy="2427055"/>
          </a:xfrm>
        </p:spPr>
        <p:txBody>
          <a:bodyPr/>
          <a:lstStyle>
            <a:lvl1pPr>
              <a:lnSpc>
                <a:spcPts val="1600"/>
              </a:lnSpc>
              <a:defRPr sz="1600" b="1" cap="all" baseline="0"/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195736" y="1029923"/>
            <a:ext cx="1872208" cy="4516169"/>
          </a:xfrm>
        </p:spPr>
        <p:txBody>
          <a:bodyPr/>
          <a:lstStyle>
            <a:lvl1pPr marL="0" indent="0">
              <a:defRPr sz="1600"/>
            </a:lvl1pPr>
            <a:lvl2pPr marL="0" indent="0">
              <a:defRPr sz="1600"/>
            </a:lvl2pPr>
            <a:lvl3pPr marL="0" indent="0">
              <a:defRPr sz="1600"/>
            </a:lvl3pPr>
            <a:lvl4pPr marL="0" indent="0">
              <a:defRPr sz="1600"/>
            </a:lvl4pPr>
            <a:lvl5pPr marL="0" indent="0">
              <a:defRPr sz="16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7" name="Espace réservé pour une image  6"/>
          <p:cNvSpPr>
            <a:spLocks noGrp="1"/>
          </p:cNvSpPr>
          <p:nvPr>
            <p:ph type="pic" sz="quarter" idx="13"/>
          </p:nvPr>
        </p:nvSpPr>
        <p:spPr>
          <a:xfrm>
            <a:off x="4312693" y="660912"/>
            <a:ext cx="2149522" cy="5576400"/>
          </a:xfrm>
        </p:spPr>
        <p:txBody>
          <a:bodyPr rtlCol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4"/>
          </p:nvPr>
        </p:nvSpPr>
        <p:spPr>
          <a:xfrm>
            <a:off x="395540" y="709543"/>
            <a:ext cx="1467383" cy="287767"/>
          </a:xfrm>
        </p:spPr>
        <p:txBody>
          <a:bodyPr/>
          <a:lstStyle>
            <a:lvl1pPr>
              <a:lnSpc>
                <a:spcPts val="1000"/>
              </a:lnSpc>
              <a:defRPr sz="10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 smtClean="0"/>
              <a:t>Modifiez les styles du texte du masqu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0254477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command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-1" y="0"/>
            <a:ext cx="3456000" cy="60277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8000" y="247723"/>
            <a:ext cx="2366300" cy="124650"/>
          </a:xfrm>
        </p:spPr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Tit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085999" y="660400"/>
            <a:ext cx="4428001" cy="1772793"/>
          </a:xfrm>
        </p:spPr>
        <p:txBody>
          <a:bodyPr/>
          <a:lstStyle>
            <a:lvl1pPr>
              <a:defRPr sz="2000" b="1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  <a:endParaRPr lang="en-GB" noProof="0" dirty="0"/>
          </a:p>
          <a:p>
            <a:pPr lvl="1"/>
            <a:r>
              <a:rPr lang="en-GB" noProof="0"/>
              <a:t>Text level 2</a:t>
            </a:r>
            <a:endParaRPr lang="en-GB" noProof="0" dirty="0"/>
          </a:p>
          <a:p>
            <a:pPr lvl="2"/>
            <a:r>
              <a:rPr lang="en-GB" noProof="0"/>
              <a:t>Text level 3</a:t>
            </a:r>
            <a:endParaRPr lang="en-GB" noProof="0" dirty="0"/>
          </a:p>
          <a:p>
            <a:pPr lvl="3"/>
            <a:r>
              <a:rPr lang="en-GB" noProof="0"/>
              <a:t>Text level 4</a:t>
            </a:r>
            <a:endParaRPr lang="en-GB" noProof="0" dirty="0"/>
          </a:p>
          <a:p>
            <a:pPr lvl="4"/>
            <a:r>
              <a:rPr lang="en-GB" noProof="0"/>
              <a:t>Text level 5</a:t>
            </a:r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646464"/>
                </a:solidFill>
              </a:rPr>
              <a:t>Corporate presentation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449E3F-F7A8-47F1-A579-B94246E0A518}" type="slidenum">
              <a:rPr lang="en-GB" smtClean="0">
                <a:solidFill>
                  <a:srgbClr val="646464"/>
                </a:solidFill>
              </a:rPr>
              <a:pPr/>
              <a:t>‹#›</a:t>
            </a:fld>
            <a:endParaRPr lang="en-GB" dirty="0">
              <a:solidFill>
                <a:srgbClr val="646464"/>
              </a:solidFill>
            </a:endParaRPr>
          </a:p>
        </p:txBody>
      </p:sp>
      <p:sp>
        <p:nvSpPr>
          <p:cNvPr id="7" name="Forme libre 6"/>
          <p:cNvSpPr>
            <a:spLocks noChangeAspect="1"/>
          </p:cNvSpPr>
          <p:nvPr userDrawn="1"/>
        </p:nvSpPr>
        <p:spPr>
          <a:xfrm>
            <a:off x="0" y="2770869"/>
            <a:ext cx="243000" cy="486000"/>
          </a:xfrm>
          <a:custGeom>
            <a:avLst/>
            <a:gdLst>
              <a:gd name="connsiteX0" fmla="*/ 0 w 243000"/>
              <a:gd name="connsiteY0" fmla="*/ 0 h 486000"/>
              <a:gd name="connsiteX1" fmla="*/ 243000 w 243000"/>
              <a:gd name="connsiteY1" fmla="*/ 243000 h 486000"/>
              <a:gd name="connsiteX2" fmla="*/ 0 w 243000"/>
              <a:gd name="connsiteY2" fmla="*/ 486000 h 4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3000" h="486000">
                <a:moveTo>
                  <a:pt x="0" y="0"/>
                </a:moveTo>
                <a:cubicBezTo>
                  <a:pt x="134205" y="0"/>
                  <a:pt x="243000" y="108795"/>
                  <a:pt x="243000" y="243000"/>
                </a:cubicBezTo>
                <a:cubicBezTo>
                  <a:pt x="243000" y="377205"/>
                  <a:pt x="134205" y="486000"/>
                  <a:pt x="0" y="48600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3" hasCustomPrompt="1"/>
          </p:nvPr>
        </p:nvSpPr>
        <p:spPr>
          <a:xfrm>
            <a:off x="630000" y="1897296"/>
            <a:ext cx="2430700" cy="1208023"/>
          </a:xfrm>
        </p:spPr>
        <p:txBody>
          <a:bodyPr/>
          <a:lstStyle>
            <a:lvl1pPr>
              <a:lnSpc>
                <a:spcPct val="90000"/>
              </a:lnSpc>
              <a:spcBef>
                <a:spcPts val="600"/>
              </a:spcBef>
              <a:defRPr sz="1300" b="0">
                <a:solidFill>
                  <a:schemeClr val="bg1"/>
                </a:solidFill>
              </a:defRPr>
            </a:lvl1pPr>
            <a:lvl2pPr>
              <a:lnSpc>
                <a:spcPct val="90000"/>
              </a:lnSpc>
              <a:spcBef>
                <a:spcPts val="600"/>
              </a:spcBef>
              <a:defRPr sz="1300" b="0">
                <a:solidFill>
                  <a:schemeClr val="bg1"/>
                </a:solidFill>
              </a:defRPr>
            </a:lvl2pPr>
            <a:lvl3pPr>
              <a:lnSpc>
                <a:spcPct val="90000"/>
              </a:lnSpc>
              <a:spcBef>
                <a:spcPts val="600"/>
              </a:spcBef>
              <a:defRPr sz="1300" b="0">
                <a:solidFill>
                  <a:schemeClr val="bg1"/>
                </a:solidFill>
              </a:defRPr>
            </a:lvl3pPr>
            <a:lvl4pPr>
              <a:lnSpc>
                <a:spcPct val="90000"/>
              </a:lnSpc>
              <a:spcBef>
                <a:spcPts val="600"/>
              </a:spcBef>
              <a:defRPr sz="1300" b="0">
                <a:solidFill>
                  <a:schemeClr val="bg1"/>
                </a:solidFill>
              </a:defRPr>
            </a:lvl4pPr>
            <a:lvl5pPr>
              <a:lnSpc>
                <a:spcPct val="90000"/>
              </a:lnSpc>
              <a:spcBef>
                <a:spcPts val="600"/>
              </a:spcBef>
              <a:defRPr sz="13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 level 1</a:t>
            </a:r>
            <a:endParaRPr lang="en-GB" noProof="0" dirty="0"/>
          </a:p>
          <a:p>
            <a:pPr lvl="1"/>
            <a:r>
              <a:rPr lang="en-GB" noProof="0"/>
              <a:t>Text level 2</a:t>
            </a:r>
            <a:endParaRPr lang="en-GB" noProof="0" dirty="0"/>
          </a:p>
          <a:p>
            <a:pPr lvl="2"/>
            <a:r>
              <a:rPr lang="en-GB" noProof="0"/>
              <a:t>Text level 3</a:t>
            </a:r>
            <a:endParaRPr lang="en-GB" noProof="0" dirty="0"/>
          </a:p>
          <a:p>
            <a:pPr lvl="3"/>
            <a:r>
              <a:rPr lang="en-GB" noProof="0"/>
              <a:t>Text level 4</a:t>
            </a:r>
            <a:endParaRPr lang="en-GB" noProof="0" dirty="0"/>
          </a:p>
          <a:p>
            <a:pPr lvl="4"/>
            <a:r>
              <a:rPr lang="en-GB" noProof="0"/>
              <a:t>Text level 5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534070773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92652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29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A0C6CBA3-07E0-4E5A-9CBC-84DDD6F62137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9264032"/>
      </p:ext>
    </p:extLst>
  </p:cSld>
  <p:clrMapOvr>
    <a:masterClrMapping/>
  </p:clrMapOvr>
  <p:transition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7571" y="0"/>
            <a:ext cx="8545484" cy="841375"/>
          </a:xfrm>
        </p:spPr>
        <p:txBody>
          <a:bodyPr/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07571" y="1321723"/>
            <a:ext cx="4173942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6815" y="1321723"/>
            <a:ext cx="4206240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CA6D8E2-A421-439A-9542-C7671204AF4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5308416"/>
      </p:ext>
    </p:extLst>
  </p:cSld>
  <p:clrMapOvr>
    <a:masterClrMapping/>
  </p:clrMapOvr>
  <p:transition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8" y="0"/>
            <a:ext cx="8537171" cy="84137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82E74FB-98A9-4760-AAB1-CA40FB5892D0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7598357"/>
      </p:ext>
    </p:extLst>
  </p:cSld>
  <p:clrMapOvr>
    <a:masterClrMapping/>
  </p:clrMapOvr>
  <p:transition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E535B98-BEBB-425D-BC8E-307821EDBAC0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8949885"/>
      </p:ext>
    </p:extLst>
  </p:cSld>
  <p:clrMapOvr>
    <a:masterClrMapping/>
  </p:clrMapOvr>
  <p:transition>
    <p:fad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age dégag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557213"/>
            <a:ext cx="9144000" cy="7318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96E64F78-AC8F-42E3-9C77-64ECDFE42C1E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3176343"/>
      </p:ext>
    </p:extLst>
  </p:cSld>
  <p:clrMapOvr>
    <a:masterClrMapping/>
  </p:clrMapOvr>
  <p:transition>
    <p:fad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>
  <p:cSld name="Titre et texte sur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2633" y="0"/>
            <a:ext cx="8613660" cy="847898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282633" y="1246909"/>
            <a:ext cx="8613660" cy="2326554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82633" y="3763052"/>
            <a:ext cx="8613660" cy="232821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8547610"/>
      </p:ext>
    </p:extLst>
  </p:cSld>
  <p:clrMapOvr>
    <a:masterClrMapping/>
  </p:clrMapOvr>
  <p:transition>
    <p:fade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9" y="0"/>
            <a:ext cx="8553796" cy="90011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299259" y="1350963"/>
            <a:ext cx="8553796" cy="4758892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102524"/>
      </p:ext>
    </p:extLst>
  </p:cSld>
  <p:clrMapOvr>
    <a:masterClrMapping/>
  </p:clrMapOvr>
  <p:transition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9" descr="fond_150dpi_bleu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>
            <a:fillRect/>
          </a:stretch>
        </p:blipFill>
        <p:spPr bwMode="auto">
          <a:xfrm>
            <a:off x="0" y="0"/>
            <a:ext cx="9144000" cy="6275388"/>
          </a:xfrm>
          <a:prstGeom prst="rect">
            <a:avLst/>
          </a:prstGeom>
          <a:solidFill>
            <a:srgbClr val="45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8" y="2176463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u titr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es sous-titres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E7423CB-C39B-46B7-9A76-B744759BC04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0573724"/>
      </p:ext>
    </p:extLst>
  </p:cSld>
  <p:clrMapOvr>
    <a:masterClrMapping/>
  </p:clrMapOvr>
  <p:transition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 userDrawn="1"/>
        </p:nvSpPr>
        <p:spPr bwMode="auto">
          <a:xfrm>
            <a:off x="0" y="0"/>
            <a:ext cx="9144000" cy="6318250"/>
          </a:xfrm>
          <a:prstGeom prst="rect">
            <a:avLst/>
          </a:prstGeom>
          <a:solidFill>
            <a:srgbClr val="44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4400" eaLnBrk="1" hangingPunct="1"/>
            <a:endParaRPr lang="en-US" dirty="0">
              <a:solidFill>
                <a:srgbClr val="444492"/>
              </a:solidFill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CA6FA23-9279-480B-970E-FA3CDB694608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589191"/>
      </p:ext>
    </p:extLst>
  </p:cSld>
  <p:clrMapOvr>
    <a:masterClrMapping/>
  </p:clrMapOvr>
  <p:transition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r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0" y="0"/>
            <a:ext cx="7952787" cy="763011"/>
          </a:xfrm>
        </p:spPr>
        <p:txBody>
          <a:bodyPr anchor="ctr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8"/>
          <p:cNvSpPr>
            <a:spLocks noGrp="1" noChangeArrowheads="1"/>
          </p:cNvSpPr>
          <p:nvPr>
            <p:ph type="ftr" sz="quarter" idx="10"/>
          </p:nvPr>
        </p:nvSpPr>
        <p:spPr>
          <a:xfrm>
            <a:off x="5076825" y="6421212"/>
            <a:ext cx="2895600" cy="238125"/>
          </a:xfrm>
          <a:prstGeom prst="rect">
            <a:avLst/>
          </a:prstGeom>
          <a:ln/>
        </p:spPr>
        <p:txBody>
          <a:bodyPr anchor="ctr"/>
          <a:lstStyle>
            <a:lvl1pPr>
              <a:defRPr sz="1400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444492"/>
              </a:solidFill>
              <a:latin typeface="Arial"/>
            </a:endParaRPr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188958-8517-4D7A-AE47-DFA241C8D41C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618056" y="763010"/>
            <a:ext cx="7946636" cy="0"/>
            <a:chOff x="618056" y="1259571"/>
            <a:chExt cx="7946636" cy="0"/>
          </a:xfrm>
        </p:grpSpPr>
        <p:cxnSp>
          <p:nvCxnSpPr>
            <p:cNvPr id="7" name="Connecteur droit 6"/>
            <p:cNvCxnSpPr/>
            <p:nvPr userDrawn="1"/>
          </p:nvCxnSpPr>
          <p:spPr>
            <a:xfrm>
              <a:off x="618056" y="1259571"/>
              <a:ext cx="2670151" cy="0"/>
            </a:xfrm>
            <a:prstGeom prst="line">
              <a:avLst/>
            </a:prstGeom>
            <a:ln w="22225">
              <a:solidFill>
                <a:srgbClr val="BCA36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8"/>
            <p:cNvCxnSpPr/>
            <p:nvPr userDrawn="1"/>
          </p:nvCxnSpPr>
          <p:spPr>
            <a:xfrm>
              <a:off x="5900692" y="1259571"/>
              <a:ext cx="2664000" cy="0"/>
            </a:xfrm>
            <a:prstGeom prst="line">
              <a:avLst/>
            </a:prstGeom>
            <a:ln w="22225">
              <a:solidFill>
                <a:srgbClr val="AEB41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necteur droit 7"/>
            <p:cNvCxnSpPr/>
            <p:nvPr userDrawn="1"/>
          </p:nvCxnSpPr>
          <p:spPr>
            <a:xfrm>
              <a:off x="3279316" y="1259571"/>
              <a:ext cx="2628000" cy="0"/>
            </a:xfrm>
            <a:prstGeom prst="line">
              <a:avLst/>
            </a:prstGeom>
            <a:ln w="22225">
              <a:solidFill>
                <a:srgbClr val="34398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" name="Connecteur droit 11"/>
          <p:cNvCxnSpPr/>
          <p:nvPr userDrawn="1"/>
        </p:nvCxnSpPr>
        <p:spPr>
          <a:xfrm>
            <a:off x="636224" y="6237298"/>
            <a:ext cx="7920000" cy="0"/>
          </a:xfrm>
          <a:prstGeom prst="line">
            <a:avLst/>
          </a:prstGeom>
          <a:ln w="6350">
            <a:solidFill>
              <a:srgbClr val="2B2A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12775" y="6083300"/>
            <a:ext cx="7943850" cy="153988"/>
          </a:xfrm>
        </p:spPr>
        <p:txBody>
          <a:bodyPr anchor="b"/>
          <a:lstStyle>
            <a:lvl1pPr marL="90487" indent="0">
              <a:buNone/>
              <a:defRPr sz="800">
                <a:solidFill>
                  <a:srgbClr val="989898"/>
                </a:solidFill>
              </a:defRPr>
            </a:lvl1pPr>
            <a:lvl2pPr marL="457200" indent="0">
              <a:buNone/>
              <a:defRPr sz="800">
                <a:solidFill>
                  <a:srgbClr val="989898"/>
                </a:solidFill>
              </a:defRPr>
            </a:lvl2pPr>
            <a:lvl3pPr marL="914400" indent="0">
              <a:buNone/>
              <a:defRPr sz="800">
                <a:solidFill>
                  <a:srgbClr val="989898"/>
                </a:solidFill>
              </a:defRPr>
            </a:lvl3pPr>
            <a:lvl4pPr marL="1371600" indent="0">
              <a:buNone/>
              <a:defRPr sz="800">
                <a:solidFill>
                  <a:srgbClr val="989898"/>
                </a:solidFill>
              </a:defRPr>
            </a:lvl4pPr>
            <a:lvl5pPr marL="1828800" indent="0">
              <a:buNone/>
              <a:defRPr sz="800">
                <a:solidFill>
                  <a:srgbClr val="989898"/>
                </a:solidFill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15318891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-1" y="0"/>
            <a:ext cx="9144000" cy="60277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86100" y="1876635"/>
            <a:ext cx="5429249" cy="1470146"/>
          </a:xfrm>
        </p:spPr>
        <p:txBody>
          <a:bodyPr/>
          <a:lstStyle>
            <a:lvl1pPr>
              <a:spcBef>
                <a:spcPts val="1200"/>
              </a:spcBef>
              <a:defRPr sz="2000" b="0" cap="none" baseline="0">
                <a:solidFill>
                  <a:schemeClr val="bg1"/>
                </a:solidFill>
              </a:defRPr>
            </a:lvl1pPr>
            <a:lvl2pPr marL="0" indent="0">
              <a:spcBef>
                <a:spcPts val="600"/>
              </a:spcBef>
              <a:defRPr sz="1800" b="0" cap="none" baseline="0"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defRPr sz="1400"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defRPr sz="1200"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Text level 1</a:t>
            </a:r>
            <a:endParaRPr lang="en-GB" noProof="0" dirty="0"/>
          </a:p>
          <a:p>
            <a:pPr lvl="1"/>
            <a:r>
              <a:rPr lang="en-GB" noProof="0"/>
              <a:t>Text level 2</a:t>
            </a:r>
            <a:endParaRPr lang="en-GB" noProof="0" dirty="0"/>
          </a:p>
          <a:p>
            <a:pPr lvl="2"/>
            <a:r>
              <a:rPr lang="en-GB" noProof="0"/>
              <a:t>Text level 3</a:t>
            </a:r>
            <a:endParaRPr lang="en-GB" noProof="0" dirty="0"/>
          </a:p>
          <a:p>
            <a:pPr lvl="3"/>
            <a:r>
              <a:rPr lang="en-GB" noProof="0"/>
              <a:t>Text level 4</a:t>
            </a:r>
            <a:endParaRPr lang="en-GB" noProof="0" dirty="0"/>
          </a:p>
          <a:p>
            <a:pPr lvl="4"/>
            <a:r>
              <a:rPr lang="en-GB" noProof="0"/>
              <a:t>Text level 5</a:t>
            </a:r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srgbClr val="646464"/>
                </a:solidFill>
              </a:rPr>
              <a:t>Corporate presentation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449E3F-F7A8-47F1-A579-B94246E0A518}" type="slidenum">
              <a:rPr lang="en-GB" smtClean="0">
                <a:solidFill>
                  <a:srgbClr val="646464"/>
                </a:solidFill>
              </a:rPr>
              <a:pPr/>
              <a:t>‹#›</a:t>
            </a:fld>
            <a:endParaRPr lang="en-GB" dirty="0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8257576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19124" y="455613"/>
            <a:ext cx="8407855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b" anchorCtr="0" compatLnSpc="1">
            <a:prstTxWarp prst="textNoShape">
              <a:avLst/>
            </a:prstTxWarp>
            <a:noAutofit/>
          </a:bodyPr>
          <a:lstStyle>
            <a:lvl1pPr>
              <a:defRPr sz="2400"/>
            </a:lvl1pPr>
          </a:lstStyle>
          <a:p>
            <a:pPr lvl="0"/>
            <a:r>
              <a:rPr lang="en-US" dirty="0"/>
              <a:t>Click to Enter Page Title</a:t>
            </a: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11188" y="1350963"/>
            <a:ext cx="7956000" cy="46008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600"/>
            </a:lvl1pPr>
            <a:lvl2pPr>
              <a:spcBef>
                <a:spcPts val="0"/>
              </a:spcBef>
              <a:defRPr sz="1600"/>
            </a:lvl2pPr>
            <a:lvl3pPr>
              <a:spcBef>
                <a:spcPts val="0"/>
              </a:spcBef>
              <a:defRPr sz="1600"/>
            </a:lvl3pPr>
            <a:lvl4pPr>
              <a:spcBef>
                <a:spcPts val="0"/>
              </a:spcBef>
              <a:defRPr sz="1600"/>
            </a:lvl4pPr>
            <a:lvl5pPr>
              <a:spcBef>
                <a:spcPts val="0"/>
              </a:spcBef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11188" y="6040540"/>
            <a:ext cx="7956000" cy="22263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2079379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re et contenu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2924469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19" name="think-cell Folie" r:id="rId5" imgW="499" imgH="499" progId="TCLayout.ActiveDocument.1">
                  <p:embed/>
                </p:oleObj>
              </mc:Choice>
              <mc:Fallback>
                <p:oleObj name="think-cell Folie" r:id="rId5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rme libre : forme 18"/>
          <p:cNvSpPr>
            <a:spLocks/>
          </p:cNvSpPr>
          <p:nvPr userDrawn="1"/>
        </p:nvSpPr>
        <p:spPr bwMode="auto">
          <a:xfrm>
            <a:off x="939869" y="381188"/>
            <a:ext cx="5792373" cy="838200"/>
          </a:xfrm>
          <a:custGeom>
            <a:avLst/>
            <a:gdLst>
              <a:gd name="connsiteX0" fmla="*/ 307975 w 5792373"/>
              <a:gd name="connsiteY0" fmla="*/ 0 h 628650"/>
              <a:gd name="connsiteX1" fmla="*/ 5792373 w 5792373"/>
              <a:gd name="connsiteY1" fmla="*/ 0 h 628650"/>
              <a:gd name="connsiteX2" fmla="*/ 5792373 w 5792373"/>
              <a:gd name="connsiteY2" fmla="*/ 628650 h 628650"/>
              <a:gd name="connsiteX3" fmla="*/ 0 w 5792373"/>
              <a:gd name="connsiteY3" fmla="*/ 628650 h 628650"/>
              <a:gd name="connsiteX4" fmla="*/ 69850 w 5792373"/>
              <a:gd name="connsiteY4" fmla="*/ 466725 h 628650"/>
              <a:gd name="connsiteX5" fmla="*/ 142875 w 5792373"/>
              <a:gd name="connsiteY5" fmla="*/ 307975 h 628650"/>
              <a:gd name="connsiteX6" fmla="*/ 222250 w 5792373"/>
              <a:gd name="connsiteY6" fmla="*/ 152400 h 628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92373" h="628650">
                <a:moveTo>
                  <a:pt x="307975" y="0"/>
                </a:moveTo>
                <a:lnTo>
                  <a:pt x="5792373" y="0"/>
                </a:lnTo>
                <a:lnTo>
                  <a:pt x="5792373" y="628650"/>
                </a:lnTo>
                <a:lnTo>
                  <a:pt x="0" y="628650"/>
                </a:lnTo>
                <a:lnTo>
                  <a:pt x="69850" y="466725"/>
                </a:lnTo>
                <a:lnTo>
                  <a:pt x="142875" y="307975"/>
                </a:lnTo>
                <a:lnTo>
                  <a:pt x="222250" y="152400"/>
                </a:lnTo>
                <a:close/>
              </a:path>
            </a:pathLst>
          </a:custGeom>
          <a:solidFill>
            <a:srgbClr val="CFB28B">
              <a:alpha val="8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444492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259633" y="356658"/>
            <a:ext cx="5472609" cy="864097"/>
          </a:xfrm>
        </p:spPr>
        <p:txBody>
          <a:bodyPr/>
          <a:lstStyle>
            <a:lvl1pPr algn="l">
              <a:defRPr cap="all" baseline="0"/>
            </a:lvl1pPr>
          </a:lstStyle>
          <a:p>
            <a:r>
              <a:rPr lang="en-US" dirty="0"/>
              <a:t>MODIFIEZ LE STYLE DU T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3784BD-AEF4-4952-A313-2EBF09C498B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980"/>
          <a:stretch/>
        </p:blipFill>
        <p:spPr>
          <a:xfrm>
            <a:off x="7054955" y="284649"/>
            <a:ext cx="1722290" cy="1008112"/>
          </a:xfrm>
          <a:prstGeom prst="rect">
            <a:avLst/>
          </a:prstGeom>
        </p:spPr>
      </p:pic>
      <p:pic>
        <p:nvPicPr>
          <p:cNvPr id="9" name="Image 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9574" y="6173081"/>
            <a:ext cx="564852" cy="642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331367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38593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5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A0C6CBA3-07E0-4E5A-9CBC-84DDD6F62137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1449264"/>
      </p:ext>
    </p:extLst>
  </p:cSld>
  <p:clrMapOvr>
    <a:masterClrMapping/>
  </p:clrMapOvr>
  <p:transition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7571" y="0"/>
            <a:ext cx="8545484" cy="841375"/>
          </a:xfrm>
        </p:spPr>
        <p:txBody>
          <a:bodyPr/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07571" y="1321723"/>
            <a:ext cx="4173942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6815" y="1321723"/>
            <a:ext cx="4206240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CA6D8E2-A421-439A-9542-C7671204AF4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5712464"/>
      </p:ext>
    </p:extLst>
  </p:cSld>
  <p:clrMapOvr>
    <a:masterClrMapping/>
  </p:clrMapOvr>
  <p:transition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8" y="0"/>
            <a:ext cx="8537171" cy="84137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82E74FB-98A9-4760-AAB1-CA40FB5892D0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648994"/>
      </p:ext>
    </p:extLst>
  </p:cSld>
  <p:clrMapOvr>
    <a:masterClrMapping/>
  </p:clrMapOvr>
  <p:transition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E535B98-BEBB-425D-BC8E-307821EDBAC0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812094"/>
      </p:ext>
    </p:extLst>
  </p:cSld>
  <p:clrMapOvr>
    <a:masterClrMapping/>
  </p:clrMapOvr>
  <p:transition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age dégag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557213"/>
            <a:ext cx="9144000" cy="7318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96E64F78-AC8F-42E3-9C77-64ECDFE42C1E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4369996"/>
      </p:ext>
    </p:extLst>
  </p:cSld>
  <p:clrMapOvr>
    <a:masterClrMapping/>
  </p:clrMapOvr>
  <p:transition>
    <p:fad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>
  <p:cSld name="Titre et texte sur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2633" y="0"/>
            <a:ext cx="8613660" cy="847898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282633" y="1246909"/>
            <a:ext cx="8613660" cy="2326554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82633" y="3763052"/>
            <a:ext cx="8613660" cy="232821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6619553"/>
      </p:ext>
    </p:extLst>
  </p:cSld>
  <p:clrMapOvr>
    <a:masterClrMapping/>
  </p:clrMapOvr>
  <p:transition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9" y="0"/>
            <a:ext cx="8553796" cy="90011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299259" y="1350963"/>
            <a:ext cx="8553796" cy="4758892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5329428"/>
      </p:ext>
    </p:extLst>
  </p:cSld>
  <p:clrMapOvr>
    <a:masterClrMapping/>
  </p:clrMapOvr>
  <p:transition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9" descr="fond_150dpi_bleu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>
            <a:fillRect/>
          </a:stretch>
        </p:blipFill>
        <p:spPr bwMode="auto">
          <a:xfrm>
            <a:off x="0" y="0"/>
            <a:ext cx="9144000" cy="6275388"/>
          </a:xfrm>
          <a:prstGeom prst="rect">
            <a:avLst/>
          </a:prstGeom>
          <a:solidFill>
            <a:srgbClr val="45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8" y="2176463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u titr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es sous-titres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E7423CB-C39B-46B7-9A76-B744759BC04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826750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anofi en bre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8000" y="3181422"/>
            <a:ext cx="1312200" cy="193899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 noProof="0" dirty="0"/>
              <a:t>Tit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1999" y="720000"/>
            <a:ext cx="3943349" cy="1772793"/>
          </a:xfrm>
        </p:spPr>
        <p:txBody>
          <a:bodyPr/>
          <a:lstStyle>
            <a:lvl1pPr>
              <a:defRPr sz="200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noProof="0" dirty="0"/>
              <a:t>Texte niveau 1</a:t>
            </a:r>
          </a:p>
          <a:p>
            <a:pPr lvl="1"/>
            <a:r>
              <a:rPr lang="fr-FR" noProof="0" dirty="0"/>
              <a:t>Texte niveau 2</a:t>
            </a:r>
          </a:p>
          <a:p>
            <a:pPr lvl="2"/>
            <a:r>
              <a:rPr lang="fr-FR" noProof="0" dirty="0"/>
              <a:t>Texte niveau 3</a:t>
            </a:r>
          </a:p>
          <a:p>
            <a:pPr lvl="3"/>
            <a:r>
              <a:rPr lang="fr-FR" noProof="0" dirty="0"/>
              <a:t>Texte niveau 4</a:t>
            </a:r>
          </a:p>
          <a:p>
            <a:pPr lvl="4"/>
            <a:r>
              <a:rPr lang="fr-FR" noProof="0" dirty="0"/>
              <a:t>Texte niveau 5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>
                <a:solidFill>
                  <a:srgbClr val="646464"/>
                </a:solidFill>
              </a:rPr>
              <a:t>Présentation Corporate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449E3F-F7A8-47F1-A579-B94246E0A518}" type="slidenum">
              <a:rPr lang="fr-FR" smtClean="0">
                <a:solidFill>
                  <a:srgbClr val="646464"/>
                </a:solidFill>
              </a:rPr>
              <a:pPr/>
              <a:t>‹#›</a:t>
            </a:fld>
            <a:endParaRPr lang="fr-FR" dirty="0">
              <a:solidFill>
                <a:srgbClr val="646464"/>
              </a:solidFill>
            </a:endParaRPr>
          </a:p>
        </p:txBody>
      </p:sp>
      <p:sp>
        <p:nvSpPr>
          <p:cNvPr id="7" name="Forme libre 6"/>
          <p:cNvSpPr>
            <a:spLocks noChangeAspect="1"/>
          </p:cNvSpPr>
          <p:nvPr userDrawn="1"/>
        </p:nvSpPr>
        <p:spPr>
          <a:xfrm>
            <a:off x="0" y="2770869"/>
            <a:ext cx="243000" cy="486000"/>
          </a:xfrm>
          <a:custGeom>
            <a:avLst/>
            <a:gdLst>
              <a:gd name="connsiteX0" fmla="*/ 0 w 243000"/>
              <a:gd name="connsiteY0" fmla="*/ 0 h 486000"/>
              <a:gd name="connsiteX1" fmla="*/ 243000 w 243000"/>
              <a:gd name="connsiteY1" fmla="*/ 243000 h 486000"/>
              <a:gd name="connsiteX2" fmla="*/ 0 w 243000"/>
              <a:gd name="connsiteY2" fmla="*/ 486000 h 4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3000" h="486000">
                <a:moveTo>
                  <a:pt x="0" y="0"/>
                </a:moveTo>
                <a:cubicBezTo>
                  <a:pt x="134205" y="0"/>
                  <a:pt x="243000" y="108795"/>
                  <a:pt x="243000" y="243000"/>
                </a:cubicBezTo>
                <a:cubicBezTo>
                  <a:pt x="243000" y="377205"/>
                  <a:pt x="134205" y="486000"/>
                  <a:pt x="0" y="48600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8" name="ZoneTexte 7"/>
          <p:cNvSpPr txBox="1"/>
          <p:nvPr userDrawn="1"/>
        </p:nvSpPr>
        <p:spPr>
          <a:xfrm>
            <a:off x="288000" y="2944620"/>
            <a:ext cx="13122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fr-FR" sz="900" dirty="0">
                <a:solidFill>
                  <a:srgbClr val="ACB317"/>
                </a:solidFill>
                <a:latin typeface="Arial" panose="020B0604020202020204"/>
                <a:ea typeface="+mn-ea"/>
              </a:rPr>
              <a:t>SANOFI EN BREF</a:t>
            </a:r>
          </a:p>
        </p:txBody>
      </p:sp>
      <p:sp>
        <p:nvSpPr>
          <p:cNvPr id="10" name="Espace réservé pour une image  9"/>
          <p:cNvSpPr>
            <a:spLocks noGrp="1"/>
          </p:cNvSpPr>
          <p:nvPr>
            <p:ph type="pic" sz="quarter" idx="13"/>
          </p:nvPr>
        </p:nvSpPr>
        <p:spPr>
          <a:xfrm>
            <a:off x="1744662" y="0"/>
            <a:ext cx="2160000" cy="276999"/>
          </a:xfrm>
        </p:spPr>
        <p:txBody>
          <a:bodyPr/>
          <a:lstStyle/>
          <a:p>
            <a:endParaRPr lang="fr-FR" noProof="0" dirty="0"/>
          </a:p>
        </p:txBody>
      </p:sp>
      <p:sp>
        <p:nvSpPr>
          <p:cNvPr id="9" name="Espace réservé du texte 5"/>
          <p:cNvSpPr>
            <a:spLocks noGrp="1"/>
          </p:cNvSpPr>
          <p:nvPr>
            <p:ph type="body" sz="quarter" idx="14" hasCustomPrompt="1"/>
          </p:nvPr>
        </p:nvSpPr>
        <p:spPr>
          <a:xfrm>
            <a:off x="1952331" y="5850000"/>
            <a:ext cx="1798402" cy="110800"/>
          </a:xfrm>
        </p:spPr>
        <p:txBody>
          <a:bodyPr/>
          <a:lstStyle>
            <a:lvl1pPr algn="l">
              <a:lnSpc>
                <a:spcPct val="90000"/>
              </a:lnSpc>
              <a:defRPr sz="800" b="0"/>
            </a:lvl1pPr>
            <a:lvl2pPr algn="r">
              <a:lnSpc>
                <a:spcPct val="90000"/>
              </a:lnSpc>
              <a:spcBef>
                <a:spcPts val="0"/>
              </a:spcBef>
              <a:defRPr sz="800"/>
            </a:lvl2pPr>
            <a:lvl3pPr algn="r">
              <a:lnSpc>
                <a:spcPct val="90000"/>
              </a:lnSpc>
              <a:spcBef>
                <a:spcPts val="0"/>
              </a:spcBef>
              <a:defRPr sz="800"/>
            </a:lvl3pPr>
            <a:lvl4pPr algn="r">
              <a:lnSpc>
                <a:spcPct val="90000"/>
              </a:lnSpc>
              <a:spcBef>
                <a:spcPts val="0"/>
              </a:spcBef>
              <a:defRPr sz="800"/>
            </a:lvl4pPr>
            <a:lvl5pPr algn="r">
              <a:lnSpc>
                <a:spcPct val="90000"/>
              </a:lnSpc>
              <a:spcBef>
                <a:spcPts val="0"/>
              </a:spcBef>
              <a:defRPr sz="800"/>
            </a:lvl5pPr>
          </a:lstStyle>
          <a:p>
            <a:pPr lvl="0"/>
            <a:r>
              <a:rPr lang="fr-FR" noProof="0" dirty="0"/>
              <a:t>Crédits photo</a:t>
            </a:r>
          </a:p>
        </p:txBody>
      </p:sp>
    </p:spTree>
    <p:extLst>
      <p:ext uri="{BB962C8B-B14F-4D97-AF65-F5344CB8AC3E}">
        <p14:creationId xmlns:p14="http://schemas.microsoft.com/office/powerpoint/2010/main" val="2299487309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 userDrawn="1"/>
        </p:nvSpPr>
        <p:spPr bwMode="auto">
          <a:xfrm>
            <a:off x="0" y="0"/>
            <a:ext cx="9144000" cy="6318250"/>
          </a:xfrm>
          <a:prstGeom prst="rect">
            <a:avLst/>
          </a:prstGeom>
          <a:solidFill>
            <a:srgbClr val="44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4400" eaLnBrk="1" hangingPunct="1"/>
            <a:endParaRPr lang="en-US" dirty="0">
              <a:solidFill>
                <a:srgbClr val="444492"/>
              </a:solidFill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CA6FA23-9279-480B-970E-FA3CDB694608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8025274"/>
      </p:ext>
    </p:extLst>
  </p:cSld>
  <p:clrMapOvr>
    <a:masterClrMapping/>
  </p:clrMapOvr>
  <p:transition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r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0" y="0"/>
            <a:ext cx="7952787" cy="763011"/>
          </a:xfrm>
        </p:spPr>
        <p:txBody>
          <a:bodyPr anchor="ctr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8"/>
          <p:cNvSpPr>
            <a:spLocks noGrp="1" noChangeArrowheads="1"/>
          </p:cNvSpPr>
          <p:nvPr>
            <p:ph type="ftr" sz="quarter" idx="10"/>
          </p:nvPr>
        </p:nvSpPr>
        <p:spPr>
          <a:xfrm>
            <a:off x="5076825" y="6421212"/>
            <a:ext cx="2895600" cy="238125"/>
          </a:xfrm>
          <a:prstGeom prst="rect">
            <a:avLst/>
          </a:prstGeom>
          <a:ln/>
        </p:spPr>
        <p:txBody>
          <a:bodyPr anchor="ctr"/>
          <a:lstStyle>
            <a:lvl1pPr>
              <a:defRPr sz="1400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444492"/>
              </a:solidFill>
              <a:latin typeface="Arial"/>
            </a:endParaRPr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188958-8517-4D7A-AE47-DFA241C8D41C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618056" y="763010"/>
            <a:ext cx="7946636" cy="0"/>
            <a:chOff x="618056" y="1259571"/>
            <a:chExt cx="7946636" cy="0"/>
          </a:xfrm>
        </p:grpSpPr>
        <p:cxnSp>
          <p:nvCxnSpPr>
            <p:cNvPr id="7" name="Connecteur droit 6"/>
            <p:cNvCxnSpPr/>
            <p:nvPr userDrawn="1"/>
          </p:nvCxnSpPr>
          <p:spPr>
            <a:xfrm>
              <a:off x="618056" y="1259571"/>
              <a:ext cx="2670151" cy="0"/>
            </a:xfrm>
            <a:prstGeom prst="line">
              <a:avLst/>
            </a:prstGeom>
            <a:ln w="22225">
              <a:solidFill>
                <a:srgbClr val="BCA36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8"/>
            <p:cNvCxnSpPr/>
            <p:nvPr userDrawn="1"/>
          </p:nvCxnSpPr>
          <p:spPr>
            <a:xfrm>
              <a:off x="5900692" y="1259571"/>
              <a:ext cx="2664000" cy="0"/>
            </a:xfrm>
            <a:prstGeom prst="line">
              <a:avLst/>
            </a:prstGeom>
            <a:ln w="22225">
              <a:solidFill>
                <a:srgbClr val="AEB41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necteur droit 7"/>
            <p:cNvCxnSpPr/>
            <p:nvPr userDrawn="1"/>
          </p:nvCxnSpPr>
          <p:spPr>
            <a:xfrm>
              <a:off x="3279316" y="1259571"/>
              <a:ext cx="2628000" cy="0"/>
            </a:xfrm>
            <a:prstGeom prst="line">
              <a:avLst/>
            </a:prstGeom>
            <a:ln w="22225">
              <a:solidFill>
                <a:srgbClr val="34398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" name="Connecteur droit 11"/>
          <p:cNvCxnSpPr/>
          <p:nvPr userDrawn="1"/>
        </p:nvCxnSpPr>
        <p:spPr>
          <a:xfrm>
            <a:off x="636224" y="6237298"/>
            <a:ext cx="7920000" cy="0"/>
          </a:xfrm>
          <a:prstGeom prst="line">
            <a:avLst/>
          </a:prstGeom>
          <a:ln w="6350">
            <a:solidFill>
              <a:srgbClr val="2B2A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12775" y="6083300"/>
            <a:ext cx="7943850" cy="153988"/>
          </a:xfrm>
        </p:spPr>
        <p:txBody>
          <a:bodyPr anchor="b"/>
          <a:lstStyle>
            <a:lvl1pPr marL="90487" indent="0">
              <a:buNone/>
              <a:defRPr sz="800">
                <a:solidFill>
                  <a:srgbClr val="989898"/>
                </a:solidFill>
              </a:defRPr>
            </a:lvl1pPr>
            <a:lvl2pPr marL="457200" indent="0">
              <a:buNone/>
              <a:defRPr sz="800">
                <a:solidFill>
                  <a:srgbClr val="989898"/>
                </a:solidFill>
              </a:defRPr>
            </a:lvl2pPr>
            <a:lvl3pPr marL="914400" indent="0">
              <a:buNone/>
              <a:defRPr sz="800">
                <a:solidFill>
                  <a:srgbClr val="989898"/>
                </a:solidFill>
              </a:defRPr>
            </a:lvl3pPr>
            <a:lvl4pPr marL="1371600" indent="0">
              <a:buNone/>
              <a:defRPr sz="800">
                <a:solidFill>
                  <a:srgbClr val="989898"/>
                </a:solidFill>
              </a:defRPr>
            </a:lvl4pPr>
            <a:lvl5pPr marL="1828800" indent="0">
              <a:buNone/>
              <a:defRPr sz="800">
                <a:solidFill>
                  <a:srgbClr val="989898"/>
                </a:solidFill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737949164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19124" y="455613"/>
            <a:ext cx="8407855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b" anchorCtr="0" compatLnSpc="1">
            <a:prstTxWarp prst="textNoShape">
              <a:avLst/>
            </a:prstTxWarp>
            <a:noAutofit/>
          </a:bodyPr>
          <a:lstStyle>
            <a:lvl1pPr>
              <a:defRPr sz="2400"/>
            </a:lvl1pPr>
          </a:lstStyle>
          <a:p>
            <a:pPr lvl="0"/>
            <a:r>
              <a:rPr lang="en-US" dirty="0"/>
              <a:t>Click to Enter Page Title</a:t>
            </a: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11188" y="1350963"/>
            <a:ext cx="7956000" cy="46008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600"/>
            </a:lvl1pPr>
            <a:lvl2pPr>
              <a:spcBef>
                <a:spcPts val="0"/>
              </a:spcBef>
              <a:defRPr sz="1600"/>
            </a:lvl2pPr>
            <a:lvl3pPr>
              <a:spcBef>
                <a:spcPts val="0"/>
              </a:spcBef>
              <a:defRPr sz="1600"/>
            </a:lvl3pPr>
            <a:lvl4pPr>
              <a:spcBef>
                <a:spcPts val="0"/>
              </a:spcBef>
              <a:defRPr sz="1600"/>
            </a:lvl4pPr>
            <a:lvl5pPr>
              <a:spcBef>
                <a:spcPts val="0"/>
              </a:spcBef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11188" y="6040540"/>
            <a:ext cx="7956000" cy="22263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0824273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re et contenu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2241341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679" name="think-cell Folie" r:id="rId5" imgW="499" imgH="499" progId="TCLayout.ActiveDocument.1">
                  <p:embed/>
                </p:oleObj>
              </mc:Choice>
              <mc:Fallback>
                <p:oleObj name="think-cell Folie" r:id="rId5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rme libre : forme 18"/>
          <p:cNvSpPr>
            <a:spLocks/>
          </p:cNvSpPr>
          <p:nvPr userDrawn="1"/>
        </p:nvSpPr>
        <p:spPr bwMode="auto">
          <a:xfrm>
            <a:off x="939869" y="381188"/>
            <a:ext cx="5792373" cy="838200"/>
          </a:xfrm>
          <a:custGeom>
            <a:avLst/>
            <a:gdLst>
              <a:gd name="connsiteX0" fmla="*/ 307975 w 5792373"/>
              <a:gd name="connsiteY0" fmla="*/ 0 h 628650"/>
              <a:gd name="connsiteX1" fmla="*/ 5792373 w 5792373"/>
              <a:gd name="connsiteY1" fmla="*/ 0 h 628650"/>
              <a:gd name="connsiteX2" fmla="*/ 5792373 w 5792373"/>
              <a:gd name="connsiteY2" fmla="*/ 628650 h 628650"/>
              <a:gd name="connsiteX3" fmla="*/ 0 w 5792373"/>
              <a:gd name="connsiteY3" fmla="*/ 628650 h 628650"/>
              <a:gd name="connsiteX4" fmla="*/ 69850 w 5792373"/>
              <a:gd name="connsiteY4" fmla="*/ 466725 h 628650"/>
              <a:gd name="connsiteX5" fmla="*/ 142875 w 5792373"/>
              <a:gd name="connsiteY5" fmla="*/ 307975 h 628650"/>
              <a:gd name="connsiteX6" fmla="*/ 222250 w 5792373"/>
              <a:gd name="connsiteY6" fmla="*/ 152400 h 628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92373" h="628650">
                <a:moveTo>
                  <a:pt x="307975" y="0"/>
                </a:moveTo>
                <a:lnTo>
                  <a:pt x="5792373" y="0"/>
                </a:lnTo>
                <a:lnTo>
                  <a:pt x="5792373" y="628650"/>
                </a:lnTo>
                <a:lnTo>
                  <a:pt x="0" y="628650"/>
                </a:lnTo>
                <a:lnTo>
                  <a:pt x="69850" y="466725"/>
                </a:lnTo>
                <a:lnTo>
                  <a:pt x="142875" y="307975"/>
                </a:lnTo>
                <a:lnTo>
                  <a:pt x="222250" y="152400"/>
                </a:lnTo>
                <a:close/>
              </a:path>
            </a:pathLst>
          </a:custGeom>
          <a:solidFill>
            <a:srgbClr val="CFB28B">
              <a:alpha val="8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444492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259633" y="356658"/>
            <a:ext cx="5472609" cy="864097"/>
          </a:xfrm>
        </p:spPr>
        <p:txBody>
          <a:bodyPr/>
          <a:lstStyle>
            <a:lvl1pPr algn="l">
              <a:defRPr cap="all" baseline="0"/>
            </a:lvl1pPr>
          </a:lstStyle>
          <a:p>
            <a:r>
              <a:rPr lang="en-US" dirty="0"/>
              <a:t>MODIFIEZ LE STYLE DU T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3784BD-AEF4-4952-A313-2EBF09C498B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980"/>
          <a:stretch/>
        </p:blipFill>
        <p:spPr>
          <a:xfrm>
            <a:off x="7054955" y="284649"/>
            <a:ext cx="1722290" cy="1008112"/>
          </a:xfrm>
          <a:prstGeom prst="rect">
            <a:avLst/>
          </a:prstGeom>
        </p:spPr>
      </p:pic>
      <p:pic>
        <p:nvPicPr>
          <p:cNvPr id="9" name="Image 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9574" y="6173081"/>
            <a:ext cx="564852" cy="642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4117909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83392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2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A0C6CBA3-07E0-4E5A-9CBC-84DDD6F62137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3777813"/>
      </p:ext>
    </p:extLst>
  </p:cSld>
  <p:clrMapOvr>
    <a:masterClrMapping/>
  </p:clrMapOvr>
  <p:transition>
    <p:fad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7571" y="0"/>
            <a:ext cx="8545484" cy="841375"/>
          </a:xfrm>
        </p:spPr>
        <p:txBody>
          <a:bodyPr/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07571" y="1321723"/>
            <a:ext cx="4173942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6815" y="1321723"/>
            <a:ext cx="4206240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CA6D8E2-A421-439A-9542-C7671204AF4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496192"/>
      </p:ext>
    </p:extLst>
  </p:cSld>
  <p:clrMapOvr>
    <a:masterClrMapping/>
  </p:clrMapOvr>
  <p:transition>
    <p:fade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8" y="0"/>
            <a:ext cx="8537171" cy="84137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82E74FB-98A9-4760-AAB1-CA40FB5892D0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0905985"/>
      </p:ext>
    </p:extLst>
  </p:cSld>
  <p:clrMapOvr>
    <a:masterClrMapping/>
  </p:clrMapOvr>
  <p:transition>
    <p:fad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E535B98-BEBB-425D-BC8E-307821EDBAC0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7498631"/>
      </p:ext>
    </p:extLst>
  </p:cSld>
  <p:clrMapOvr>
    <a:masterClrMapping/>
  </p:clrMapOvr>
  <p:transition>
    <p:fade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age dégag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557213"/>
            <a:ext cx="9144000" cy="7318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96E64F78-AC8F-42E3-9C77-64ECDFE42C1E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1832250"/>
      </p:ext>
    </p:extLst>
  </p:cSld>
  <p:clrMapOvr>
    <a:masterClrMapping/>
  </p:clrMapOvr>
  <p:transition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>
  <p:cSld name="Titre et texte sur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2633" y="0"/>
            <a:ext cx="8613660" cy="847898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282633" y="1246909"/>
            <a:ext cx="8613660" cy="2326554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82633" y="3763052"/>
            <a:ext cx="8613660" cy="232821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030221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A0C6CBA3-07E0-4E5A-9CBC-84DDD6F62137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329029"/>
      </p:ext>
    </p:extLst>
  </p:cSld>
  <p:clrMapOvr>
    <a:masterClrMapping/>
  </p:clrMapOvr>
  <p:transition>
    <p:fade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9" y="0"/>
            <a:ext cx="8553796" cy="90011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299259" y="1350963"/>
            <a:ext cx="8553796" cy="4758892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4600247"/>
      </p:ext>
    </p:extLst>
  </p:cSld>
  <p:clrMapOvr>
    <a:masterClrMapping/>
  </p:clrMapOvr>
  <p:transition>
    <p:fade/>
  </p:transition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9" descr="fond_150dpi_bleu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>
            <a:fillRect/>
          </a:stretch>
        </p:blipFill>
        <p:spPr bwMode="auto">
          <a:xfrm>
            <a:off x="0" y="0"/>
            <a:ext cx="9144000" cy="6275388"/>
          </a:xfrm>
          <a:prstGeom prst="rect">
            <a:avLst/>
          </a:prstGeom>
          <a:solidFill>
            <a:srgbClr val="45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8" y="2176463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u titr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es sous-titres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E7423CB-C39B-46B7-9A76-B744759BC04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0959092"/>
      </p:ext>
    </p:extLst>
  </p:cSld>
  <p:clrMapOvr>
    <a:masterClrMapping/>
  </p:clrMapOvr>
  <p:transition>
    <p:fade/>
  </p:transition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 userDrawn="1"/>
        </p:nvSpPr>
        <p:spPr bwMode="auto">
          <a:xfrm>
            <a:off x="0" y="0"/>
            <a:ext cx="9144000" cy="6318250"/>
          </a:xfrm>
          <a:prstGeom prst="rect">
            <a:avLst/>
          </a:prstGeom>
          <a:solidFill>
            <a:srgbClr val="44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4400" eaLnBrk="1" hangingPunct="1"/>
            <a:endParaRPr lang="en-US" dirty="0">
              <a:solidFill>
                <a:srgbClr val="444492"/>
              </a:solidFill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CA6FA23-9279-480B-970E-FA3CDB694608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0683823"/>
      </p:ext>
    </p:extLst>
  </p:cSld>
  <p:clrMapOvr>
    <a:masterClrMapping/>
  </p:clrMapOvr>
  <p:transition>
    <p:fade/>
  </p:transition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r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0" y="0"/>
            <a:ext cx="7952787" cy="763011"/>
          </a:xfrm>
        </p:spPr>
        <p:txBody>
          <a:bodyPr anchor="ctr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8"/>
          <p:cNvSpPr>
            <a:spLocks noGrp="1" noChangeArrowheads="1"/>
          </p:cNvSpPr>
          <p:nvPr>
            <p:ph type="ftr" sz="quarter" idx="10"/>
          </p:nvPr>
        </p:nvSpPr>
        <p:spPr>
          <a:xfrm>
            <a:off x="5076825" y="6421212"/>
            <a:ext cx="2895600" cy="238125"/>
          </a:xfrm>
          <a:prstGeom prst="rect">
            <a:avLst/>
          </a:prstGeom>
          <a:ln/>
        </p:spPr>
        <p:txBody>
          <a:bodyPr anchor="ctr"/>
          <a:lstStyle>
            <a:lvl1pPr>
              <a:defRPr sz="1400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444492"/>
              </a:solidFill>
              <a:latin typeface="Arial"/>
            </a:endParaRPr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188958-8517-4D7A-AE47-DFA241C8D41C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618056" y="763010"/>
            <a:ext cx="7946636" cy="0"/>
            <a:chOff x="618056" y="1259571"/>
            <a:chExt cx="7946636" cy="0"/>
          </a:xfrm>
        </p:grpSpPr>
        <p:cxnSp>
          <p:nvCxnSpPr>
            <p:cNvPr id="7" name="Connecteur droit 6"/>
            <p:cNvCxnSpPr/>
            <p:nvPr userDrawn="1"/>
          </p:nvCxnSpPr>
          <p:spPr>
            <a:xfrm>
              <a:off x="618056" y="1259571"/>
              <a:ext cx="2670151" cy="0"/>
            </a:xfrm>
            <a:prstGeom prst="line">
              <a:avLst/>
            </a:prstGeom>
            <a:ln w="22225">
              <a:solidFill>
                <a:srgbClr val="BCA36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8"/>
            <p:cNvCxnSpPr/>
            <p:nvPr userDrawn="1"/>
          </p:nvCxnSpPr>
          <p:spPr>
            <a:xfrm>
              <a:off x="5900692" y="1259571"/>
              <a:ext cx="2664000" cy="0"/>
            </a:xfrm>
            <a:prstGeom prst="line">
              <a:avLst/>
            </a:prstGeom>
            <a:ln w="22225">
              <a:solidFill>
                <a:srgbClr val="AEB41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necteur droit 7"/>
            <p:cNvCxnSpPr/>
            <p:nvPr userDrawn="1"/>
          </p:nvCxnSpPr>
          <p:spPr>
            <a:xfrm>
              <a:off x="3279316" y="1259571"/>
              <a:ext cx="2628000" cy="0"/>
            </a:xfrm>
            <a:prstGeom prst="line">
              <a:avLst/>
            </a:prstGeom>
            <a:ln w="22225">
              <a:solidFill>
                <a:srgbClr val="34398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" name="Connecteur droit 11"/>
          <p:cNvCxnSpPr/>
          <p:nvPr userDrawn="1"/>
        </p:nvCxnSpPr>
        <p:spPr>
          <a:xfrm>
            <a:off x="636224" y="6237298"/>
            <a:ext cx="7920000" cy="0"/>
          </a:xfrm>
          <a:prstGeom prst="line">
            <a:avLst/>
          </a:prstGeom>
          <a:ln w="6350">
            <a:solidFill>
              <a:srgbClr val="2B2A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12775" y="6083300"/>
            <a:ext cx="7943850" cy="153988"/>
          </a:xfrm>
        </p:spPr>
        <p:txBody>
          <a:bodyPr anchor="b"/>
          <a:lstStyle>
            <a:lvl1pPr marL="90487" indent="0">
              <a:buNone/>
              <a:defRPr sz="800">
                <a:solidFill>
                  <a:srgbClr val="989898"/>
                </a:solidFill>
              </a:defRPr>
            </a:lvl1pPr>
            <a:lvl2pPr marL="457200" indent="0">
              <a:buNone/>
              <a:defRPr sz="800">
                <a:solidFill>
                  <a:srgbClr val="989898"/>
                </a:solidFill>
              </a:defRPr>
            </a:lvl2pPr>
            <a:lvl3pPr marL="914400" indent="0">
              <a:buNone/>
              <a:defRPr sz="800">
                <a:solidFill>
                  <a:srgbClr val="989898"/>
                </a:solidFill>
              </a:defRPr>
            </a:lvl3pPr>
            <a:lvl4pPr marL="1371600" indent="0">
              <a:buNone/>
              <a:defRPr sz="800">
                <a:solidFill>
                  <a:srgbClr val="989898"/>
                </a:solidFill>
              </a:defRPr>
            </a:lvl4pPr>
            <a:lvl5pPr marL="1828800" indent="0">
              <a:buNone/>
              <a:defRPr sz="800">
                <a:solidFill>
                  <a:srgbClr val="989898"/>
                </a:solidFill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243858967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19124" y="455613"/>
            <a:ext cx="8407855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b" anchorCtr="0" compatLnSpc="1">
            <a:prstTxWarp prst="textNoShape">
              <a:avLst/>
            </a:prstTxWarp>
            <a:noAutofit/>
          </a:bodyPr>
          <a:lstStyle>
            <a:lvl1pPr>
              <a:defRPr sz="2400"/>
            </a:lvl1pPr>
          </a:lstStyle>
          <a:p>
            <a:pPr lvl="0"/>
            <a:r>
              <a:rPr lang="en-US" dirty="0"/>
              <a:t>Click to Enter Page Title</a:t>
            </a: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11188" y="1350963"/>
            <a:ext cx="7956000" cy="46008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600"/>
            </a:lvl1pPr>
            <a:lvl2pPr>
              <a:spcBef>
                <a:spcPts val="0"/>
              </a:spcBef>
              <a:defRPr sz="1600"/>
            </a:lvl2pPr>
            <a:lvl3pPr>
              <a:spcBef>
                <a:spcPts val="0"/>
              </a:spcBef>
              <a:defRPr sz="1600"/>
            </a:lvl3pPr>
            <a:lvl4pPr>
              <a:spcBef>
                <a:spcPts val="0"/>
              </a:spcBef>
              <a:defRPr sz="1600"/>
            </a:lvl4pPr>
            <a:lvl5pPr>
              <a:spcBef>
                <a:spcPts val="0"/>
              </a:spcBef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11188" y="6040540"/>
            <a:ext cx="7956000" cy="22263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1563809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re et contenu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1016969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51" name="think-cell Folie" r:id="rId5" imgW="499" imgH="499" progId="TCLayout.ActiveDocument.1">
                  <p:embed/>
                </p:oleObj>
              </mc:Choice>
              <mc:Fallback>
                <p:oleObj name="think-cell Folie" r:id="rId5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rme libre : forme 18"/>
          <p:cNvSpPr>
            <a:spLocks/>
          </p:cNvSpPr>
          <p:nvPr userDrawn="1"/>
        </p:nvSpPr>
        <p:spPr bwMode="auto">
          <a:xfrm>
            <a:off x="939869" y="381188"/>
            <a:ext cx="5792373" cy="838200"/>
          </a:xfrm>
          <a:custGeom>
            <a:avLst/>
            <a:gdLst>
              <a:gd name="connsiteX0" fmla="*/ 307975 w 5792373"/>
              <a:gd name="connsiteY0" fmla="*/ 0 h 628650"/>
              <a:gd name="connsiteX1" fmla="*/ 5792373 w 5792373"/>
              <a:gd name="connsiteY1" fmla="*/ 0 h 628650"/>
              <a:gd name="connsiteX2" fmla="*/ 5792373 w 5792373"/>
              <a:gd name="connsiteY2" fmla="*/ 628650 h 628650"/>
              <a:gd name="connsiteX3" fmla="*/ 0 w 5792373"/>
              <a:gd name="connsiteY3" fmla="*/ 628650 h 628650"/>
              <a:gd name="connsiteX4" fmla="*/ 69850 w 5792373"/>
              <a:gd name="connsiteY4" fmla="*/ 466725 h 628650"/>
              <a:gd name="connsiteX5" fmla="*/ 142875 w 5792373"/>
              <a:gd name="connsiteY5" fmla="*/ 307975 h 628650"/>
              <a:gd name="connsiteX6" fmla="*/ 222250 w 5792373"/>
              <a:gd name="connsiteY6" fmla="*/ 152400 h 628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92373" h="628650">
                <a:moveTo>
                  <a:pt x="307975" y="0"/>
                </a:moveTo>
                <a:lnTo>
                  <a:pt x="5792373" y="0"/>
                </a:lnTo>
                <a:lnTo>
                  <a:pt x="5792373" y="628650"/>
                </a:lnTo>
                <a:lnTo>
                  <a:pt x="0" y="628650"/>
                </a:lnTo>
                <a:lnTo>
                  <a:pt x="69850" y="466725"/>
                </a:lnTo>
                <a:lnTo>
                  <a:pt x="142875" y="307975"/>
                </a:lnTo>
                <a:lnTo>
                  <a:pt x="222250" y="152400"/>
                </a:lnTo>
                <a:close/>
              </a:path>
            </a:pathLst>
          </a:custGeom>
          <a:solidFill>
            <a:srgbClr val="CFB28B">
              <a:alpha val="8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444492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259633" y="356658"/>
            <a:ext cx="5472609" cy="864097"/>
          </a:xfrm>
        </p:spPr>
        <p:txBody>
          <a:bodyPr/>
          <a:lstStyle>
            <a:lvl1pPr algn="l">
              <a:defRPr cap="all" baseline="0"/>
            </a:lvl1pPr>
          </a:lstStyle>
          <a:p>
            <a:r>
              <a:rPr lang="en-US" dirty="0"/>
              <a:t>MODIFIEZ LE STYLE DU T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3784BD-AEF4-4952-A313-2EBF09C498B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980"/>
          <a:stretch/>
        </p:blipFill>
        <p:spPr>
          <a:xfrm>
            <a:off x="7054955" y="284649"/>
            <a:ext cx="1722290" cy="1008112"/>
          </a:xfrm>
          <a:prstGeom prst="rect">
            <a:avLst/>
          </a:prstGeom>
        </p:spPr>
      </p:pic>
      <p:pic>
        <p:nvPicPr>
          <p:cNvPr id="9" name="Image 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9574" y="6173081"/>
            <a:ext cx="564852" cy="642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8395214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58433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9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A0C6CBA3-07E0-4E5A-9CBC-84DDD6F62137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69408"/>
      </p:ext>
    </p:extLst>
  </p:cSld>
  <p:clrMapOvr>
    <a:masterClrMapping/>
  </p:clrMapOvr>
  <p:transition>
    <p:fade/>
  </p:transition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7571" y="0"/>
            <a:ext cx="8545484" cy="841375"/>
          </a:xfrm>
        </p:spPr>
        <p:txBody>
          <a:bodyPr/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07571" y="1321723"/>
            <a:ext cx="4173942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6815" y="1321723"/>
            <a:ext cx="4206240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CA6D8E2-A421-439A-9542-C7671204AF4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9592856"/>
      </p:ext>
    </p:extLst>
  </p:cSld>
  <p:clrMapOvr>
    <a:masterClrMapping/>
  </p:clrMapOvr>
  <p:transition>
    <p:fade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8" y="0"/>
            <a:ext cx="8537171" cy="84137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82E74FB-98A9-4760-AAB1-CA40FB5892D0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2465528"/>
      </p:ext>
    </p:extLst>
  </p:cSld>
  <p:clrMapOvr>
    <a:masterClrMapping/>
  </p:clrMapOvr>
  <p:transition>
    <p:fade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E535B98-BEBB-425D-BC8E-307821EDBAC0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486310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7571" y="0"/>
            <a:ext cx="8545484" cy="841375"/>
          </a:xfrm>
        </p:spPr>
        <p:txBody>
          <a:bodyPr/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07571" y="1321723"/>
            <a:ext cx="4173942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6815" y="1321723"/>
            <a:ext cx="4206240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CA6D8E2-A421-439A-9542-C7671204AF4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3821240"/>
      </p:ext>
    </p:extLst>
  </p:cSld>
  <p:clrMapOvr>
    <a:masterClrMapping/>
  </p:clrMapOvr>
  <p:transition>
    <p:fade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age dégag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557213"/>
            <a:ext cx="9144000" cy="7318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96E64F78-AC8F-42E3-9C77-64ECDFE42C1E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8179830"/>
      </p:ext>
    </p:extLst>
  </p:cSld>
  <p:clrMapOvr>
    <a:masterClrMapping/>
  </p:clrMapOvr>
  <p:transition>
    <p:fad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>
  <p:cSld name="Titre et texte sur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2633" y="0"/>
            <a:ext cx="8613660" cy="847898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282633" y="1246909"/>
            <a:ext cx="8613660" cy="2326554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82633" y="3763052"/>
            <a:ext cx="8613660" cy="232821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2364130"/>
      </p:ext>
    </p:extLst>
  </p:cSld>
  <p:clrMapOvr>
    <a:masterClrMapping/>
  </p:clrMapOvr>
  <p:transition>
    <p:fad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9" y="0"/>
            <a:ext cx="8553796" cy="90011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299259" y="1350963"/>
            <a:ext cx="8553796" cy="4758892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0582130"/>
      </p:ext>
    </p:extLst>
  </p:cSld>
  <p:clrMapOvr>
    <a:masterClrMapping/>
  </p:clrMapOvr>
  <p:transition>
    <p:fad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9" descr="fond_150dpi_bleu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>
            <a:fillRect/>
          </a:stretch>
        </p:blipFill>
        <p:spPr bwMode="auto">
          <a:xfrm>
            <a:off x="0" y="0"/>
            <a:ext cx="9144000" cy="6275388"/>
          </a:xfrm>
          <a:prstGeom prst="rect">
            <a:avLst/>
          </a:prstGeom>
          <a:solidFill>
            <a:srgbClr val="45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8" y="2176463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u titr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es sous-titres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E7423CB-C39B-46B7-9A76-B744759BC04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8425818"/>
      </p:ext>
    </p:extLst>
  </p:cSld>
  <p:clrMapOvr>
    <a:masterClrMapping/>
  </p:clrMapOvr>
  <p:transition>
    <p:fad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 userDrawn="1"/>
        </p:nvSpPr>
        <p:spPr bwMode="auto">
          <a:xfrm>
            <a:off x="0" y="0"/>
            <a:ext cx="9144000" cy="6318250"/>
          </a:xfrm>
          <a:prstGeom prst="rect">
            <a:avLst/>
          </a:prstGeom>
          <a:solidFill>
            <a:srgbClr val="44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4400" eaLnBrk="1" hangingPunct="1"/>
            <a:endParaRPr lang="en-US" dirty="0">
              <a:solidFill>
                <a:srgbClr val="444492"/>
              </a:solidFill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CA6FA23-9279-480B-970E-FA3CDB694608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1606144"/>
      </p:ext>
    </p:extLst>
  </p:cSld>
  <p:clrMapOvr>
    <a:masterClrMapping/>
  </p:clrMapOvr>
  <p:transition>
    <p:fade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r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0" y="0"/>
            <a:ext cx="7952787" cy="763011"/>
          </a:xfrm>
        </p:spPr>
        <p:txBody>
          <a:bodyPr anchor="ctr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8"/>
          <p:cNvSpPr>
            <a:spLocks noGrp="1" noChangeArrowheads="1"/>
          </p:cNvSpPr>
          <p:nvPr>
            <p:ph type="ftr" sz="quarter" idx="10"/>
          </p:nvPr>
        </p:nvSpPr>
        <p:spPr>
          <a:xfrm>
            <a:off x="5076825" y="6421212"/>
            <a:ext cx="2895600" cy="238125"/>
          </a:xfrm>
          <a:prstGeom prst="rect">
            <a:avLst/>
          </a:prstGeom>
          <a:ln/>
        </p:spPr>
        <p:txBody>
          <a:bodyPr anchor="ctr"/>
          <a:lstStyle>
            <a:lvl1pPr>
              <a:defRPr sz="1400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444492"/>
              </a:solidFill>
              <a:latin typeface="Arial"/>
            </a:endParaRPr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188958-8517-4D7A-AE47-DFA241C8D41C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618056" y="763010"/>
            <a:ext cx="7946636" cy="0"/>
            <a:chOff x="618056" y="1259571"/>
            <a:chExt cx="7946636" cy="0"/>
          </a:xfrm>
        </p:grpSpPr>
        <p:cxnSp>
          <p:nvCxnSpPr>
            <p:cNvPr id="7" name="Connecteur droit 6"/>
            <p:cNvCxnSpPr/>
            <p:nvPr userDrawn="1"/>
          </p:nvCxnSpPr>
          <p:spPr>
            <a:xfrm>
              <a:off x="618056" y="1259571"/>
              <a:ext cx="2670151" cy="0"/>
            </a:xfrm>
            <a:prstGeom prst="line">
              <a:avLst/>
            </a:prstGeom>
            <a:ln w="22225">
              <a:solidFill>
                <a:srgbClr val="BCA36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8"/>
            <p:cNvCxnSpPr/>
            <p:nvPr userDrawn="1"/>
          </p:nvCxnSpPr>
          <p:spPr>
            <a:xfrm>
              <a:off x="5900692" y="1259571"/>
              <a:ext cx="2664000" cy="0"/>
            </a:xfrm>
            <a:prstGeom prst="line">
              <a:avLst/>
            </a:prstGeom>
            <a:ln w="22225">
              <a:solidFill>
                <a:srgbClr val="AEB41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necteur droit 7"/>
            <p:cNvCxnSpPr/>
            <p:nvPr userDrawn="1"/>
          </p:nvCxnSpPr>
          <p:spPr>
            <a:xfrm>
              <a:off x="3279316" y="1259571"/>
              <a:ext cx="2628000" cy="0"/>
            </a:xfrm>
            <a:prstGeom prst="line">
              <a:avLst/>
            </a:prstGeom>
            <a:ln w="22225">
              <a:solidFill>
                <a:srgbClr val="34398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" name="Connecteur droit 11"/>
          <p:cNvCxnSpPr/>
          <p:nvPr userDrawn="1"/>
        </p:nvCxnSpPr>
        <p:spPr>
          <a:xfrm>
            <a:off x="636224" y="6237298"/>
            <a:ext cx="7920000" cy="0"/>
          </a:xfrm>
          <a:prstGeom prst="line">
            <a:avLst/>
          </a:prstGeom>
          <a:ln w="6350">
            <a:solidFill>
              <a:srgbClr val="2B2A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12775" y="6083300"/>
            <a:ext cx="7943850" cy="153988"/>
          </a:xfrm>
        </p:spPr>
        <p:txBody>
          <a:bodyPr anchor="b"/>
          <a:lstStyle>
            <a:lvl1pPr marL="90487" indent="0">
              <a:buNone/>
              <a:defRPr sz="800">
                <a:solidFill>
                  <a:srgbClr val="989898"/>
                </a:solidFill>
              </a:defRPr>
            </a:lvl1pPr>
            <a:lvl2pPr marL="457200" indent="0">
              <a:buNone/>
              <a:defRPr sz="800">
                <a:solidFill>
                  <a:srgbClr val="989898"/>
                </a:solidFill>
              </a:defRPr>
            </a:lvl2pPr>
            <a:lvl3pPr marL="914400" indent="0">
              <a:buNone/>
              <a:defRPr sz="800">
                <a:solidFill>
                  <a:srgbClr val="989898"/>
                </a:solidFill>
              </a:defRPr>
            </a:lvl3pPr>
            <a:lvl4pPr marL="1371600" indent="0">
              <a:buNone/>
              <a:defRPr sz="800">
                <a:solidFill>
                  <a:srgbClr val="989898"/>
                </a:solidFill>
              </a:defRPr>
            </a:lvl4pPr>
            <a:lvl5pPr marL="1828800" indent="0">
              <a:buNone/>
              <a:defRPr sz="800">
                <a:solidFill>
                  <a:srgbClr val="989898"/>
                </a:solidFill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623244711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19124" y="455613"/>
            <a:ext cx="8407855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b" anchorCtr="0" compatLnSpc="1">
            <a:prstTxWarp prst="textNoShape">
              <a:avLst/>
            </a:prstTxWarp>
            <a:noAutofit/>
          </a:bodyPr>
          <a:lstStyle>
            <a:lvl1pPr>
              <a:defRPr sz="2400"/>
            </a:lvl1pPr>
          </a:lstStyle>
          <a:p>
            <a:pPr lvl="0"/>
            <a:r>
              <a:rPr lang="en-US" dirty="0"/>
              <a:t>Click to Enter Page Title</a:t>
            </a: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11188" y="1350963"/>
            <a:ext cx="7956000" cy="46008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600"/>
            </a:lvl1pPr>
            <a:lvl2pPr>
              <a:spcBef>
                <a:spcPts val="0"/>
              </a:spcBef>
              <a:defRPr sz="1600"/>
            </a:lvl2pPr>
            <a:lvl3pPr>
              <a:spcBef>
                <a:spcPts val="0"/>
              </a:spcBef>
              <a:defRPr sz="1600"/>
            </a:lvl3pPr>
            <a:lvl4pPr>
              <a:spcBef>
                <a:spcPts val="0"/>
              </a:spcBef>
              <a:defRPr sz="1600"/>
            </a:lvl4pPr>
            <a:lvl5pPr>
              <a:spcBef>
                <a:spcPts val="0"/>
              </a:spcBef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11188" y="6040540"/>
            <a:ext cx="7956000" cy="22263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1350138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re et contenu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7521563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23" name="think-cell Folie" r:id="rId5" imgW="499" imgH="499" progId="TCLayout.ActiveDocument.1">
                  <p:embed/>
                </p:oleObj>
              </mc:Choice>
              <mc:Fallback>
                <p:oleObj name="think-cell Folie" r:id="rId5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rme libre : forme 18"/>
          <p:cNvSpPr>
            <a:spLocks/>
          </p:cNvSpPr>
          <p:nvPr userDrawn="1"/>
        </p:nvSpPr>
        <p:spPr bwMode="auto">
          <a:xfrm>
            <a:off x="939869" y="381188"/>
            <a:ext cx="5792373" cy="838200"/>
          </a:xfrm>
          <a:custGeom>
            <a:avLst/>
            <a:gdLst>
              <a:gd name="connsiteX0" fmla="*/ 307975 w 5792373"/>
              <a:gd name="connsiteY0" fmla="*/ 0 h 628650"/>
              <a:gd name="connsiteX1" fmla="*/ 5792373 w 5792373"/>
              <a:gd name="connsiteY1" fmla="*/ 0 h 628650"/>
              <a:gd name="connsiteX2" fmla="*/ 5792373 w 5792373"/>
              <a:gd name="connsiteY2" fmla="*/ 628650 h 628650"/>
              <a:gd name="connsiteX3" fmla="*/ 0 w 5792373"/>
              <a:gd name="connsiteY3" fmla="*/ 628650 h 628650"/>
              <a:gd name="connsiteX4" fmla="*/ 69850 w 5792373"/>
              <a:gd name="connsiteY4" fmla="*/ 466725 h 628650"/>
              <a:gd name="connsiteX5" fmla="*/ 142875 w 5792373"/>
              <a:gd name="connsiteY5" fmla="*/ 307975 h 628650"/>
              <a:gd name="connsiteX6" fmla="*/ 222250 w 5792373"/>
              <a:gd name="connsiteY6" fmla="*/ 152400 h 628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92373" h="628650">
                <a:moveTo>
                  <a:pt x="307975" y="0"/>
                </a:moveTo>
                <a:lnTo>
                  <a:pt x="5792373" y="0"/>
                </a:lnTo>
                <a:lnTo>
                  <a:pt x="5792373" y="628650"/>
                </a:lnTo>
                <a:lnTo>
                  <a:pt x="0" y="628650"/>
                </a:lnTo>
                <a:lnTo>
                  <a:pt x="69850" y="466725"/>
                </a:lnTo>
                <a:lnTo>
                  <a:pt x="142875" y="307975"/>
                </a:lnTo>
                <a:lnTo>
                  <a:pt x="222250" y="152400"/>
                </a:lnTo>
                <a:close/>
              </a:path>
            </a:pathLst>
          </a:custGeom>
          <a:solidFill>
            <a:srgbClr val="CFB28B">
              <a:alpha val="8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444492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259633" y="356658"/>
            <a:ext cx="5472609" cy="864097"/>
          </a:xfrm>
        </p:spPr>
        <p:txBody>
          <a:bodyPr/>
          <a:lstStyle>
            <a:lvl1pPr algn="l">
              <a:defRPr cap="all" baseline="0"/>
            </a:lvl1pPr>
          </a:lstStyle>
          <a:p>
            <a:r>
              <a:rPr lang="en-US" dirty="0"/>
              <a:t>MODIFIEZ LE STYLE DU T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3784BD-AEF4-4952-A313-2EBF09C498B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980"/>
          <a:stretch/>
        </p:blipFill>
        <p:spPr>
          <a:xfrm>
            <a:off x="7054955" y="284649"/>
            <a:ext cx="1722290" cy="1008112"/>
          </a:xfrm>
          <a:prstGeom prst="rect">
            <a:avLst/>
          </a:prstGeom>
        </p:spPr>
      </p:pic>
      <p:pic>
        <p:nvPicPr>
          <p:cNvPr id="9" name="Image 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9574" y="6173081"/>
            <a:ext cx="564852" cy="642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595711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40158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7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A0C6CBA3-07E0-4E5A-9CBC-84DDD6F62137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7527550"/>
      </p:ext>
    </p:extLst>
  </p:cSld>
  <p:clrMapOvr>
    <a:masterClrMapping/>
  </p:clrMapOvr>
  <p:transition>
    <p:fad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7571" y="0"/>
            <a:ext cx="8545484" cy="841375"/>
          </a:xfrm>
        </p:spPr>
        <p:txBody>
          <a:bodyPr/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07571" y="1321723"/>
            <a:ext cx="4173942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6815" y="1321723"/>
            <a:ext cx="4206240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CA6D8E2-A421-439A-9542-C7671204AF4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4049454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463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0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8" y="0"/>
            <a:ext cx="8537171" cy="84137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82E74FB-98A9-4760-AAB1-CA40FB5892D0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9362010"/>
      </p:ext>
    </p:extLst>
  </p:cSld>
  <p:clrMapOvr>
    <a:masterClrMapping/>
  </p:clrMapOvr>
  <p:transition>
    <p:fade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8" y="0"/>
            <a:ext cx="8537171" cy="84137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82E74FB-98A9-4760-AAB1-CA40FB5892D0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3554609"/>
      </p:ext>
    </p:extLst>
  </p:cSld>
  <p:clrMapOvr>
    <a:masterClrMapping/>
  </p:clrMapOvr>
  <p:transition>
    <p:fad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E535B98-BEBB-425D-BC8E-307821EDBAC0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9538091"/>
      </p:ext>
    </p:extLst>
  </p:cSld>
  <p:clrMapOvr>
    <a:masterClrMapping/>
  </p:clrMapOvr>
  <p:transition>
    <p:fade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age dégag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557213"/>
            <a:ext cx="9144000" cy="7318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96E64F78-AC8F-42E3-9C77-64ECDFE42C1E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549460"/>
      </p:ext>
    </p:extLst>
  </p:cSld>
  <p:clrMapOvr>
    <a:masterClrMapping/>
  </p:clrMapOvr>
  <p:transition>
    <p:fade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>
  <p:cSld name="Titre et texte sur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2633" y="0"/>
            <a:ext cx="8613660" cy="847898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282633" y="1246909"/>
            <a:ext cx="8613660" cy="2326554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82633" y="3763052"/>
            <a:ext cx="8613660" cy="232821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4189129"/>
      </p:ext>
    </p:extLst>
  </p:cSld>
  <p:clrMapOvr>
    <a:masterClrMapping/>
  </p:clrMapOvr>
  <p:transition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9" y="0"/>
            <a:ext cx="8553796" cy="90011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299259" y="1350963"/>
            <a:ext cx="8553796" cy="4758892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1735769"/>
      </p:ext>
    </p:extLst>
  </p:cSld>
  <p:clrMapOvr>
    <a:masterClrMapping/>
  </p:clrMapOvr>
  <p:transition>
    <p:fade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9" descr="fond_150dpi_bleu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>
            <a:fillRect/>
          </a:stretch>
        </p:blipFill>
        <p:spPr bwMode="auto">
          <a:xfrm>
            <a:off x="0" y="0"/>
            <a:ext cx="9144000" cy="6275388"/>
          </a:xfrm>
          <a:prstGeom prst="rect">
            <a:avLst/>
          </a:prstGeom>
          <a:solidFill>
            <a:srgbClr val="45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8" y="2176463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u titr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es sous-titres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E7423CB-C39B-46B7-9A76-B744759BC04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7030214"/>
      </p:ext>
    </p:extLst>
  </p:cSld>
  <p:clrMapOvr>
    <a:masterClrMapping/>
  </p:clrMapOvr>
  <p:transition>
    <p:fade/>
  </p:transition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 userDrawn="1"/>
        </p:nvSpPr>
        <p:spPr bwMode="auto">
          <a:xfrm>
            <a:off x="0" y="0"/>
            <a:ext cx="9144000" cy="6318250"/>
          </a:xfrm>
          <a:prstGeom prst="rect">
            <a:avLst/>
          </a:prstGeom>
          <a:solidFill>
            <a:srgbClr val="44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4400" eaLnBrk="1" hangingPunct="1"/>
            <a:endParaRPr lang="en-US" dirty="0">
              <a:solidFill>
                <a:srgbClr val="444492"/>
              </a:solidFill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CA6FA23-9279-480B-970E-FA3CDB694608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7971729"/>
      </p:ext>
    </p:extLst>
  </p:cSld>
  <p:clrMapOvr>
    <a:masterClrMapping/>
  </p:clrMapOvr>
  <p:transition>
    <p:fade/>
  </p:transition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r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0" y="0"/>
            <a:ext cx="7952787" cy="763011"/>
          </a:xfrm>
        </p:spPr>
        <p:txBody>
          <a:bodyPr anchor="ctr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8"/>
          <p:cNvSpPr>
            <a:spLocks noGrp="1" noChangeArrowheads="1"/>
          </p:cNvSpPr>
          <p:nvPr>
            <p:ph type="ftr" sz="quarter" idx="10"/>
          </p:nvPr>
        </p:nvSpPr>
        <p:spPr>
          <a:xfrm>
            <a:off x="5076825" y="6421212"/>
            <a:ext cx="2895600" cy="238125"/>
          </a:xfrm>
          <a:prstGeom prst="rect">
            <a:avLst/>
          </a:prstGeom>
          <a:ln/>
        </p:spPr>
        <p:txBody>
          <a:bodyPr anchor="ctr"/>
          <a:lstStyle>
            <a:lvl1pPr>
              <a:defRPr sz="1400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444492"/>
              </a:solidFill>
              <a:latin typeface="Arial"/>
            </a:endParaRPr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188958-8517-4D7A-AE47-DFA241C8D41C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618056" y="763010"/>
            <a:ext cx="7946636" cy="0"/>
            <a:chOff x="618056" y="1259571"/>
            <a:chExt cx="7946636" cy="0"/>
          </a:xfrm>
        </p:grpSpPr>
        <p:cxnSp>
          <p:nvCxnSpPr>
            <p:cNvPr id="7" name="Connecteur droit 6"/>
            <p:cNvCxnSpPr/>
            <p:nvPr userDrawn="1"/>
          </p:nvCxnSpPr>
          <p:spPr>
            <a:xfrm>
              <a:off x="618056" y="1259571"/>
              <a:ext cx="2670151" cy="0"/>
            </a:xfrm>
            <a:prstGeom prst="line">
              <a:avLst/>
            </a:prstGeom>
            <a:ln w="22225">
              <a:solidFill>
                <a:srgbClr val="BCA36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8"/>
            <p:cNvCxnSpPr/>
            <p:nvPr userDrawn="1"/>
          </p:nvCxnSpPr>
          <p:spPr>
            <a:xfrm>
              <a:off x="5900692" y="1259571"/>
              <a:ext cx="2664000" cy="0"/>
            </a:xfrm>
            <a:prstGeom prst="line">
              <a:avLst/>
            </a:prstGeom>
            <a:ln w="22225">
              <a:solidFill>
                <a:srgbClr val="AEB41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necteur droit 7"/>
            <p:cNvCxnSpPr/>
            <p:nvPr userDrawn="1"/>
          </p:nvCxnSpPr>
          <p:spPr>
            <a:xfrm>
              <a:off x="3279316" y="1259571"/>
              <a:ext cx="2628000" cy="0"/>
            </a:xfrm>
            <a:prstGeom prst="line">
              <a:avLst/>
            </a:prstGeom>
            <a:ln w="22225">
              <a:solidFill>
                <a:srgbClr val="34398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" name="Connecteur droit 11"/>
          <p:cNvCxnSpPr/>
          <p:nvPr userDrawn="1"/>
        </p:nvCxnSpPr>
        <p:spPr>
          <a:xfrm>
            <a:off x="636224" y="6237298"/>
            <a:ext cx="7920000" cy="0"/>
          </a:xfrm>
          <a:prstGeom prst="line">
            <a:avLst/>
          </a:prstGeom>
          <a:ln w="6350">
            <a:solidFill>
              <a:srgbClr val="2B2A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12775" y="6083300"/>
            <a:ext cx="7943850" cy="153988"/>
          </a:xfrm>
        </p:spPr>
        <p:txBody>
          <a:bodyPr anchor="b"/>
          <a:lstStyle>
            <a:lvl1pPr marL="90487" indent="0">
              <a:buNone/>
              <a:defRPr sz="800">
                <a:solidFill>
                  <a:srgbClr val="989898"/>
                </a:solidFill>
              </a:defRPr>
            </a:lvl1pPr>
            <a:lvl2pPr marL="457200" indent="0">
              <a:buNone/>
              <a:defRPr sz="800">
                <a:solidFill>
                  <a:srgbClr val="989898"/>
                </a:solidFill>
              </a:defRPr>
            </a:lvl2pPr>
            <a:lvl3pPr marL="914400" indent="0">
              <a:buNone/>
              <a:defRPr sz="800">
                <a:solidFill>
                  <a:srgbClr val="989898"/>
                </a:solidFill>
              </a:defRPr>
            </a:lvl3pPr>
            <a:lvl4pPr marL="1371600" indent="0">
              <a:buNone/>
              <a:defRPr sz="800">
                <a:solidFill>
                  <a:srgbClr val="989898"/>
                </a:solidFill>
              </a:defRPr>
            </a:lvl4pPr>
            <a:lvl5pPr marL="1828800" indent="0">
              <a:buNone/>
              <a:defRPr sz="800">
                <a:solidFill>
                  <a:srgbClr val="989898"/>
                </a:solidFill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937405818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19124" y="455613"/>
            <a:ext cx="8407855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b" anchorCtr="0" compatLnSpc="1">
            <a:prstTxWarp prst="textNoShape">
              <a:avLst/>
            </a:prstTxWarp>
            <a:noAutofit/>
          </a:bodyPr>
          <a:lstStyle>
            <a:lvl1pPr>
              <a:defRPr sz="2400"/>
            </a:lvl1pPr>
          </a:lstStyle>
          <a:p>
            <a:pPr lvl="0"/>
            <a:r>
              <a:rPr lang="en-US" dirty="0"/>
              <a:t>Click to Enter Page Title</a:t>
            </a: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11188" y="1350963"/>
            <a:ext cx="7956000" cy="46008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600"/>
            </a:lvl1pPr>
            <a:lvl2pPr>
              <a:spcBef>
                <a:spcPts val="0"/>
              </a:spcBef>
              <a:defRPr sz="1600"/>
            </a:lvl2pPr>
            <a:lvl3pPr>
              <a:spcBef>
                <a:spcPts val="0"/>
              </a:spcBef>
              <a:defRPr sz="1600"/>
            </a:lvl3pPr>
            <a:lvl4pPr>
              <a:spcBef>
                <a:spcPts val="0"/>
              </a:spcBef>
              <a:defRPr sz="1600"/>
            </a:lvl4pPr>
            <a:lvl5pPr>
              <a:spcBef>
                <a:spcPts val="0"/>
              </a:spcBef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11188" y="6040540"/>
            <a:ext cx="7956000" cy="22263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9600668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re et contenu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55656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95" name="think-cell Folie" r:id="rId5" imgW="499" imgH="499" progId="TCLayout.ActiveDocument.1">
                  <p:embed/>
                </p:oleObj>
              </mc:Choice>
              <mc:Fallback>
                <p:oleObj name="think-cell Folie" r:id="rId5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rme libre : forme 18"/>
          <p:cNvSpPr>
            <a:spLocks/>
          </p:cNvSpPr>
          <p:nvPr userDrawn="1"/>
        </p:nvSpPr>
        <p:spPr bwMode="auto">
          <a:xfrm>
            <a:off x="939869" y="381188"/>
            <a:ext cx="5792373" cy="838200"/>
          </a:xfrm>
          <a:custGeom>
            <a:avLst/>
            <a:gdLst>
              <a:gd name="connsiteX0" fmla="*/ 307975 w 5792373"/>
              <a:gd name="connsiteY0" fmla="*/ 0 h 628650"/>
              <a:gd name="connsiteX1" fmla="*/ 5792373 w 5792373"/>
              <a:gd name="connsiteY1" fmla="*/ 0 h 628650"/>
              <a:gd name="connsiteX2" fmla="*/ 5792373 w 5792373"/>
              <a:gd name="connsiteY2" fmla="*/ 628650 h 628650"/>
              <a:gd name="connsiteX3" fmla="*/ 0 w 5792373"/>
              <a:gd name="connsiteY3" fmla="*/ 628650 h 628650"/>
              <a:gd name="connsiteX4" fmla="*/ 69850 w 5792373"/>
              <a:gd name="connsiteY4" fmla="*/ 466725 h 628650"/>
              <a:gd name="connsiteX5" fmla="*/ 142875 w 5792373"/>
              <a:gd name="connsiteY5" fmla="*/ 307975 h 628650"/>
              <a:gd name="connsiteX6" fmla="*/ 222250 w 5792373"/>
              <a:gd name="connsiteY6" fmla="*/ 152400 h 628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92373" h="628650">
                <a:moveTo>
                  <a:pt x="307975" y="0"/>
                </a:moveTo>
                <a:lnTo>
                  <a:pt x="5792373" y="0"/>
                </a:lnTo>
                <a:lnTo>
                  <a:pt x="5792373" y="628650"/>
                </a:lnTo>
                <a:lnTo>
                  <a:pt x="0" y="628650"/>
                </a:lnTo>
                <a:lnTo>
                  <a:pt x="69850" y="466725"/>
                </a:lnTo>
                <a:lnTo>
                  <a:pt x="142875" y="307975"/>
                </a:lnTo>
                <a:lnTo>
                  <a:pt x="222250" y="152400"/>
                </a:lnTo>
                <a:close/>
              </a:path>
            </a:pathLst>
          </a:custGeom>
          <a:solidFill>
            <a:srgbClr val="CFB28B">
              <a:alpha val="8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444492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259633" y="356658"/>
            <a:ext cx="5472609" cy="864097"/>
          </a:xfrm>
        </p:spPr>
        <p:txBody>
          <a:bodyPr/>
          <a:lstStyle>
            <a:lvl1pPr algn="l">
              <a:defRPr cap="all" baseline="0"/>
            </a:lvl1pPr>
          </a:lstStyle>
          <a:p>
            <a:r>
              <a:rPr lang="en-US" dirty="0"/>
              <a:t>MODIFIEZ LE STYLE DU T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3784BD-AEF4-4952-A313-2EBF09C498B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980"/>
          <a:stretch/>
        </p:blipFill>
        <p:spPr>
          <a:xfrm>
            <a:off x="7054955" y="284649"/>
            <a:ext cx="1722290" cy="1008112"/>
          </a:xfrm>
          <a:prstGeom prst="rect">
            <a:avLst/>
          </a:prstGeom>
        </p:spPr>
      </p:pic>
      <p:pic>
        <p:nvPicPr>
          <p:cNvPr id="9" name="Image 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9574" y="6173081"/>
            <a:ext cx="564852" cy="642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470443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E535B98-BEBB-425D-BC8E-307821EDBAC0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1406041"/>
      </p:ext>
    </p:extLst>
  </p:cSld>
  <p:clrMapOvr>
    <a:masterClrMapping/>
  </p:clrMapOvr>
  <p:transition>
    <p:fade/>
  </p:transition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91665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94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A0C6CBA3-07E0-4E5A-9CBC-84DDD6F62137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7545147"/>
      </p:ext>
    </p:extLst>
  </p:cSld>
  <p:clrMapOvr>
    <a:masterClrMapping/>
  </p:clrMapOvr>
  <p:transition>
    <p:fade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7571" y="0"/>
            <a:ext cx="8545484" cy="841375"/>
          </a:xfrm>
        </p:spPr>
        <p:txBody>
          <a:bodyPr/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07571" y="1321723"/>
            <a:ext cx="4173942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6815" y="1321723"/>
            <a:ext cx="4206240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CA6D8E2-A421-439A-9542-C7671204AF4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3870025"/>
      </p:ext>
    </p:extLst>
  </p:cSld>
  <p:clrMapOvr>
    <a:masterClrMapping/>
  </p:clrMapOvr>
  <p:transition>
    <p:fade/>
  </p:transition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8" y="0"/>
            <a:ext cx="8537171" cy="84137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82E74FB-98A9-4760-AAB1-CA40FB5892D0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2011326"/>
      </p:ext>
    </p:extLst>
  </p:cSld>
  <p:clrMapOvr>
    <a:masterClrMapping/>
  </p:clrMapOvr>
  <p:transition>
    <p:fade/>
  </p:transition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E535B98-BEBB-425D-BC8E-307821EDBAC0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0793420"/>
      </p:ext>
    </p:extLst>
  </p:cSld>
  <p:clrMapOvr>
    <a:masterClrMapping/>
  </p:clrMapOvr>
  <p:transition>
    <p:fade/>
  </p:transition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age dégag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557213"/>
            <a:ext cx="9144000" cy="7318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96E64F78-AC8F-42E3-9C77-64ECDFE42C1E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4203006"/>
      </p:ext>
    </p:extLst>
  </p:cSld>
  <p:clrMapOvr>
    <a:masterClrMapping/>
  </p:clrMapOvr>
  <p:transition>
    <p:fade/>
  </p:transition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>
  <p:cSld name="Titre et texte sur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2633" y="0"/>
            <a:ext cx="8613660" cy="847898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282633" y="1246909"/>
            <a:ext cx="8613660" cy="2326554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82633" y="3763052"/>
            <a:ext cx="8613660" cy="232821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9938384"/>
      </p:ext>
    </p:extLst>
  </p:cSld>
  <p:clrMapOvr>
    <a:masterClrMapping/>
  </p:clrMapOvr>
  <p:transition>
    <p:fade/>
  </p:transition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9" y="0"/>
            <a:ext cx="8553796" cy="90011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299259" y="1350963"/>
            <a:ext cx="8553796" cy="4758892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2558722"/>
      </p:ext>
    </p:extLst>
  </p:cSld>
  <p:clrMapOvr>
    <a:masterClrMapping/>
  </p:clrMapOvr>
  <p:transition>
    <p:fade/>
  </p:transition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9" descr="fond_150dpi_bleu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>
            <a:fillRect/>
          </a:stretch>
        </p:blipFill>
        <p:spPr bwMode="auto">
          <a:xfrm>
            <a:off x="0" y="0"/>
            <a:ext cx="9144000" cy="6275388"/>
          </a:xfrm>
          <a:prstGeom prst="rect">
            <a:avLst/>
          </a:prstGeom>
          <a:solidFill>
            <a:srgbClr val="45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8" y="2176463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u titr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es sous-titres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E7423CB-C39B-46B7-9A76-B744759BC04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8036901"/>
      </p:ext>
    </p:extLst>
  </p:cSld>
  <p:clrMapOvr>
    <a:masterClrMapping/>
  </p:clrMapOvr>
  <p:transition>
    <p:fade/>
  </p:transition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 userDrawn="1"/>
        </p:nvSpPr>
        <p:spPr bwMode="auto">
          <a:xfrm>
            <a:off x="0" y="0"/>
            <a:ext cx="9144000" cy="6318250"/>
          </a:xfrm>
          <a:prstGeom prst="rect">
            <a:avLst/>
          </a:prstGeom>
          <a:solidFill>
            <a:srgbClr val="44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4400" eaLnBrk="1" hangingPunct="1"/>
            <a:endParaRPr lang="en-US" dirty="0">
              <a:solidFill>
                <a:srgbClr val="444492"/>
              </a:solidFill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CA6FA23-9279-480B-970E-FA3CDB694608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8289999"/>
      </p:ext>
    </p:extLst>
  </p:cSld>
  <p:clrMapOvr>
    <a:masterClrMapping/>
  </p:clrMapOvr>
  <p:transition>
    <p:fade/>
  </p:transition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r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0" y="0"/>
            <a:ext cx="7952787" cy="763011"/>
          </a:xfrm>
        </p:spPr>
        <p:txBody>
          <a:bodyPr anchor="ctr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8"/>
          <p:cNvSpPr>
            <a:spLocks noGrp="1" noChangeArrowheads="1"/>
          </p:cNvSpPr>
          <p:nvPr>
            <p:ph type="ftr" sz="quarter" idx="10"/>
          </p:nvPr>
        </p:nvSpPr>
        <p:spPr>
          <a:xfrm>
            <a:off x="5076825" y="6421212"/>
            <a:ext cx="2895600" cy="238125"/>
          </a:xfrm>
          <a:prstGeom prst="rect">
            <a:avLst/>
          </a:prstGeom>
          <a:ln/>
        </p:spPr>
        <p:txBody>
          <a:bodyPr anchor="ctr"/>
          <a:lstStyle>
            <a:lvl1pPr>
              <a:defRPr sz="1400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444492"/>
              </a:solidFill>
              <a:latin typeface="Arial"/>
            </a:endParaRPr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188958-8517-4D7A-AE47-DFA241C8D41C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618056" y="763010"/>
            <a:ext cx="7946636" cy="0"/>
            <a:chOff x="618056" y="1259571"/>
            <a:chExt cx="7946636" cy="0"/>
          </a:xfrm>
        </p:grpSpPr>
        <p:cxnSp>
          <p:nvCxnSpPr>
            <p:cNvPr id="7" name="Connecteur droit 6"/>
            <p:cNvCxnSpPr/>
            <p:nvPr userDrawn="1"/>
          </p:nvCxnSpPr>
          <p:spPr>
            <a:xfrm>
              <a:off x="618056" y="1259571"/>
              <a:ext cx="2670151" cy="0"/>
            </a:xfrm>
            <a:prstGeom prst="line">
              <a:avLst/>
            </a:prstGeom>
            <a:ln w="22225">
              <a:solidFill>
                <a:srgbClr val="BCA36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8"/>
            <p:cNvCxnSpPr/>
            <p:nvPr userDrawn="1"/>
          </p:nvCxnSpPr>
          <p:spPr>
            <a:xfrm>
              <a:off x="5900692" y="1259571"/>
              <a:ext cx="2664000" cy="0"/>
            </a:xfrm>
            <a:prstGeom prst="line">
              <a:avLst/>
            </a:prstGeom>
            <a:ln w="22225">
              <a:solidFill>
                <a:srgbClr val="AEB41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necteur droit 7"/>
            <p:cNvCxnSpPr/>
            <p:nvPr userDrawn="1"/>
          </p:nvCxnSpPr>
          <p:spPr>
            <a:xfrm>
              <a:off x="3279316" y="1259571"/>
              <a:ext cx="2628000" cy="0"/>
            </a:xfrm>
            <a:prstGeom prst="line">
              <a:avLst/>
            </a:prstGeom>
            <a:ln w="22225">
              <a:solidFill>
                <a:srgbClr val="34398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" name="Connecteur droit 11"/>
          <p:cNvCxnSpPr/>
          <p:nvPr userDrawn="1"/>
        </p:nvCxnSpPr>
        <p:spPr>
          <a:xfrm>
            <a:off x="636224" y="6237298"/>
            <a:ext cx="7920000" cy="0"/>
          </a:xfrm>
          <a:prstGeom prst="line">
            <a:avLst/>
          </a:prstGeom>
          <a:ln w="6350">
            <a:solidFill>
              <a:srgbClr val="2B2A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12775" y="6083300"/>
            <a:ext cx="7943850" cy="153988"/>
          </a:xfrm>
        </p:spPr>
        <p:txBody>
          <a:bodyPr anchor="b"/>
          <a:lstStyle>
            <a:lvl1pPr marL="90487" indent="0">
              <a:buNone/>
              <a:defRPr sz="800">
                <a:solidFill>
                  <a:srgbClr val="989898"/>
                </a:solidFill>
              </a:defRPr>
            </a:lvl1pPr>
            <a:lvl2pPr marL="457200" indent="0">
              <a:buNone/>
              <a:defRPr sz="800">
                <a:solidFill>
                  <a:srgbClr val="989898"/>
                </a:solidFill>
              </a:defRPr>
            </a:lvl2pPr>
            <a:lvl3pPr marL="914400" indent="0">
              <a:buNone/>
              <a:defRPr sz="800">
                <a:solidFill>
                  <a:srgbClr val="989898"/>
                </a:solidFill>
              </a:defRPr>
            </a:lvl3pPr>
            <a:lvl4pPr marL="1371600" indent="0">
              <a:buNone/>
              <a:defRPr sz="800">
                <a:solidFill>
                  <a:srgbClr val="989898"/>
                </a:solidFill>
              </a:defRPr>
            </a:lvl4pPr>
            <a:lvl5pPr marL="1828800" indent="0">
              <a:buNone/>
              <a:defRPr sz="800">
                <a:solidFill>
                  <a:srgbClr val="989898"/>
                </a:solidFill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6713249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8" y="0"/>
            <a:ext cx="8537171" cy="84137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82E74FB-98A9-4760-AAB1-CA40FB5892D0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1959265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age dégag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557213"/>
            <a:ext cx="9144000" cy="7318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96E64F78-AC8F-42E3-9C77-64ECDFE42C1E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2800915"/>
      </p:ext>
    </p:extLst>
  </p:cSld>
  <p:clrMapOvr>
    <a:masterClrMapping/>
  </p:clrMapOvr>
  <p:transition>
    <p:fade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19124" y="455613"/>
            <a:ext cx="8407855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b" anchorCtr="0" compatLnSpc="1">
            <a:prstTxWarp prst="textNoShape">
              <a:avLst/>
            </a:prstTxWarp>
            <a:noAutofit/>
          </a:bodyPr>
          <a:lstStyle>
            <a:lvl1pPr>
              <a:defRPr sz="2400"/>
            </a:lvl1pPr>
          </a:lstStyle>
          <a:p>
            <a:pPr lvl="0"/>
            <a:r>
              <a:rPr lang="en-US" dirty="0"/>
              <a:t>Click to Enter Page Title</a:t>
            </a: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11188" y="1350963"/>
            <a:ext cx="7956000" cy="46008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600"/>
            </a:lvl1pPr>
            <a:lvl2pPr>
              <a:spcBef>
                <a:spcPts val="0"/>
              </a:spcBef>
              <a:defRPr sz="1600"/>
            </a:lvl2pPr>
            <a:lvl3pPr>
              <a:spcBef>
                <a:spcPts val="0"/>
              </a:spcBef>
              <a:defRPr sz="1600"/>
            </a:lvl3pPr>
            <a:lvl4pPr>
              <a:spcBef>
                <a:spcPts val="0"/>
              </a:spcBef>
              <a:defRPr sz="1600"/>
            </a:lvl4pPr>
            <a:lvl5pPr>
              <a:spcBef>
                <a:spcPts val="0"/>
              </a:spcBef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11188" y="6040540"/>
            <a:ext cx="7956000" cy="22263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5081459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re et contenu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0183726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966" name="think-cell Folie" r:id="rId5" imgW="499" imgH="499" progId="TCLayout.ActiveDocument.1">
                  <p:embed/>
                </p:oleObj>
              </mc:Choice>
              <mc:Fallback>
                <p:oleObj name="think-cell Folie" r:id="rId5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rme libre : forme 18"/>
          <p:cNvSpPr>
            <a:spLocks/>
          </p:cNvSpPr>
          <p:nvPr userDrawn="1"/>
        </p:nvSpPr>
        <p:spPr bwMode="auto">
          <a:xfrm>
            <a:off x="939869" y="381188"/>
            <a:ext cx="5792373" cy="838200"/>
          </a:xfrm>
          <a:custGeom>
            <a:avLst/>
            <a:gdLst>
              <a:gd name="connsiteX0" fmla="*/ 307975 w 5792373"/>
              <a:gd name="connsiteY0" fmla="*/ 0 h 628650"/>
              <a:gd name="connsiteX1" fmla="*/ 5792373 w 5792373"/>
              <a:gd name="connsiteY1" fmla="*/ 0 h 628650"/>
              <a:gd name="connsiteX2" fmla="*/ 5792373 w 5792373"/>
              <a:gd name="connsiteY2" fmla="*/ 628650 h 628650"/>
              <a:gd name="connsiteX3" fmla="*/ 0 w 5792373"/>
              <a:gd name="connsiteY3" fmla="*/ 628650 h 628650"/>
              <a:gd name="connsiteX4" fmla="*/ 69850 w 5792373"/>
              <a:gd name="connsiteY4" fmla="*/ 466725 h 628650"/>
              <a:gd name="connsiteX5" fmla="*/ 142875 w 5792373"/>
              <a:gd name="connsiteY5" fmla="*/ 307975 h 628650"/>
              <a:gd name="connsiteX6" fmla="*/ 222250 w 5792373"/>
              <a:gd name="connsiteY6" fmla="*/ 152400 h 628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92373" h="628650">
                <a:moveTo>
                  <a:pt x="307975" y="0"/>
                </a:moveTo>
                <a:lnTo>
                  <a:pt x="5792373" y="0"/>
                </a:lnTo>
                <a:lnTo>
                  <a:pt x="5792373" y="628650"/>
                </a:lnTo>
                <a:lnTo>
                  <a:pt x="0" y="628650"/>
                </a:lnTo>
                <a:lnTo>
                  <a:pt x="69850" y="466725"/>
                </a:lnTo>
                <a:lnTo>
                  <a:pt x="142875" y="307975"/>
                </a:lnTo>
                <a:lnTo>
                  <a:pt x="222250" y="152400"/>
                </a:lnTo>
                <a:close/>
              </a:path>
            </a:pathLst>
          </a:custGeom>
          <a:solidFill>
            <a:srgbClr val="CFB28B">
              <a:alpha val="8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444492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259633" y="356658"/>
            <a:ext cx="5472609" cy="864097"/>
          </a:xfrm>
        </p:spPr>
        <p:txBody>
          <a:bodyPr/>
          <a:lstStyle>
            <a:lvl1pPr algn="l">
              <a:defRPr cap="all" baseline="0"/>
            </a:lvl1pPr>
          </a:lstStyle>
          <a:p>
            <a:r>
              <a:rPr lang="en-US" dirty="0"/>
              <a:t>MODIFIEZ LE STYLE DU T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3784BD-AEF4-4952-A313-2EBF09C498B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980"/>
          <a:stretch/>
        </p:blipFill>
        <p:spPr>
          <a:xfrm>
            <a:off x="7054955" y="284649"/>
            <a:ext cx="1722290" cy="1008112"/>
          </a:xfrm>
          <a:prstGeom prst="rect">
            <a:avLst/>
          </a:prstGeom>
        </p:spPr>
      </p:pic>
      <p:pic>
        <p:nvPicPr>
          <p:cNvPr id="9" name="Image 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9574" y="6173081"/>
            <a:ext cx="564852" cy="642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6425328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54198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01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A0C6CBA3-07E0-4E5A-9CBC-84DDD6F62137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8873031"/>
      </p:ext>
    </p:extLst>
  </p:cSld>
  <p:clrMapOvr>
    <a:masterClrMapping/>
  </p:clrMapOvr>
  <p:transition>
    <p:fade/>
  </p:transition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7571" y="0"/>
            <a:ext cx="8545484" cy="841375"/>
          </a:xfrm>
        </p:spPr>
        <p:txBody>
          <a:bodyPr/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07571" y="1321723"/>
            <a:ext cx="4173942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6815" y="1321723"/>
            <a:ext cx="4206240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CA6D8E2-A421-439A-9542-C7671204AF4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2429264"/>
      </p:ext>
    </p:extLst>
  </p:cSld>
  <p:clrMapOvr>
    <a:masterClrMapping/>
  </p:clrMapOvr>
  <p:transition>
    <p:fade/>
  </p:transition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8" y="0"/>
            <a:ext cx="8537171" cy="84137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82E74FB-98A9-4760-AAB1-CA40FB5892D0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2404201"/>
      </p:ext>
    </p:extLst>
  </p:cSld>
  <p:clrMapOvr>
    <a:masterClrMapping/>
  </p:clrMapOvr>
  <p:transition>
    <p:fade/>
  </p:transition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E535B98-BEBB-425D-BC8E-307821EDBAC0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6473072"/>
      </p:ext>
    </p:extLst>
  </p:cSld>
  <p:clrMapOvr>
    <a:masterClrMapping/>
  </p:clrMapOvr>
  <p:transition>
    <p:fade/>
  </p:transition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age dégag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557213"/>
            <a:ext cx="9144000" cy="7318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96E64F78-AC8F-42E3-9C77-64ECDFE42C1E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1395656"/>
      </p:ext>
    </p:extLst>
  </p:cSld>
  <p:clrMapOvr>
    <a:masterClrMapping/>
  </p:clrMapOvr>
  <p:transition>
    <p:fade/>
  </p:transition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>
  <p:cSld name="Titre et texte sur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2633" y="0"/>
            <a:ext cx="8613660" cy="847898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282633" y="1246909"/>
            <a:ext cx="8613660" cy="2326554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82633" y="3763052"/>
            <a:ext cx="8613660" cy="232821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5356088"/>
      </p:ext>
    </p:extLst>
  </p:cSld>
  <p:clrMapOvr>
    <a:masterClrMapping/>
  </p:clrMapOvr>
  <p:transition>
    <p:fade/>
  </p:transition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9" y="0"/>
            <a:ext cx="8553796" cy="90011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299259" y="1350963"/>
            <a:ext cx="8553796" cy="4758892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2826299"/>
      </p:ext>
    </p:extLst>
  </p:cSld>
  <p:clrMapOvr>
    <a:masterClrMapping/>
  </p:clrMapOvr>
  <p:transition>
    <p:fade/>
  </p:transition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9" descr="fond_150dpi_bleu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>
            <a:fillRect/>
          </a:stretch>
        </p:blipFill>
        <p:spPr bwMode="auto">
          <a:xfrm>
            <a:off x="0" y="0"/>
            <a:ext cx="9144000" cy="6275388"/>
          </a:xfrm>
          <a:prstGeom prst="rect">
            <a:avLst/>
          </a:prstGeom>
          <a:solidFill>
            <a:srgbClr val="45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8" y="2176463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u titr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es sous-titres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E7423CB-C39B-46B7-9A76-B744759BC04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9176965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>
  <p:cSld name="Titre et texte sur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2633" y="0"/>
            <a:ext cx="8613660" cy="847898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282633" y="1246909"/>
            <a:ext cx="8613660" cy="2326554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82633" y="3763052"/>
            <a:ext cx="8613660" cy="232821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0531881"/>
      </p:ext>
    </p:extLst>
  </p:cSld>
  <p:clrMapOvr>
    <a:masterClrMapping/>
  </p:clrMapOvr>
  <p:transition>
    <p:fade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 userDrawn="1"/>
        </p:nvSpPr>
        <p:spPr bwMode="auto">
          <a:xfrm>
            <a:off x="0" y="0"/>
            <a:ext cx="9144000" cy="6318250"/>
          </a:xfrm>
          <a:prstGeom prst="rect">
            <a:avLst/>
          </a:prstGeom>
          <a:solidFill>
            <a:srgbClr val="44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4400" eaLnBrk="1" hangingPunct="1"/>
            <a:endParaRPr lang="en-US" dirty="0">
              <a:solidFill>
                <a:srgbClr val="444492"/>
              </a:solidFill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CA6FA23-9279-480B-970E-FA3CDB694608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9308309"/>
      </p:ext>
    </p:extLst>
  </p:cSld>
  <p:clrMapOvr>
    <a:masterClrMapping/>
  </p:clrMapOvr>
  <p:transition>
    <p:fade/>
  </p:transition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r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0" y="0"/>
            <a:ext cx="7952787" cy="763011"/>
          </a:xfrm>
        </p:spPr>
        <p:txBody>
          <a:bodyPr anchor="ctr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8"/>
          <p:cNvSpPr>
            <a:spLocks noGrp="1" noChangeArrowheads="1"/>
          </p:cNvSpPr>
          <p:nvPr>
            <p:ph type="ftr" sz="quarter" idx="10"/>
          </p:nvPr>
        </p:nvSpPr>
        <p:spPr>
          <a:xfrm>
            <a:off x="5076825" y="6421212"/>
            <a:ext cx="2895600" cy="238125"/>
          </a:xfrm>
          <a:prstGeom prst="rect">
            <a:avLst/>
          </a:prstGeom>
          <a:ln/>
        </p:spPr>
        <p:txBody>
          <a:bodyPr anchor="ctr"/>
          <a:lstStyle>
            <a:lvl1pPr>
              <a:defRPr sz="1400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444492"/>
              </a:solidFill>
              <a:latin typeface="Arial"/>
            </a:endParaRPr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188958-8517-4D7A-AE47-DFA241C8D41C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618056" y="763010"/>
            <a:ext cx="7946636" cy="0"/>
            <a:chOff x="618056" y="1259571"/>
            <a:chExt cx="7946636" cy="0"/>
          </a:xfrm>
        </p:grpSpPr>
        <p:cxnSp>
          <p:nvCxnSpPr>
            <p:cNvPr id="7" name="Connecteur droit 6"/>
            <p:cNvCxnSpPr/>
            <p:nvPr userDrawn="1"/>
          </p:nvCxnSpPr>
          <p:spPr>
            <a:xfrm>
              <a:off x="618056" y="1259571"/>
              <a:ext cx="2670151" cy="0"/>
            </a:xfrm>
            <a:prstGeom prst="line">
              <a:avLst/>
            </a:prstGeom>
            <a:ln w="22225">
              <a:solidFill>
                <a:srgbClr val="BCA36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8"/>
            <p:cNvCxnSpPr/>
            <p:nvPr userDrawn="1"/>
          </p:nvCxnSpPr>
          <p:spPr>
            <a:xfrm>
              <a:off x="5900692" y="1259571"/>
              <a:ext cx="2664000" cy="0"/>
            </a:xfrm>
            <a:prstGeom prst="line">
              <a:avLst/>
            </a:prstGeom>
            <a:ln w="22225">
              <a:solidFill>
                <a:srgbClr val="AEB41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necteur droit 7"/>
            <p:cNvCxnSpPr/>
            <p:nvPr userDrawn="1"/>
          </p:nvCxnSpPr>
          <p:spPr>
            <a:xfrm>
              <a:off x="3279316" y="1259571"/>
              <a:ext cx="2628000" cy="0"/>
            </a:xfrm>
            <a:prstGeom prst="line">
              <a:avLst/>
            </a:prstGeom>
            <a:ln w="22225">
              <a:solidFill>
                <a:srgbClr val="34398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" name="Connecteur droit 11"/>
          <p:cNvCxnSpPr/>
          <p:nvPr userDrawn="1"/>
        </p:nvCxnSpPr>
        <p:spPr>
          <a:xfrm>
            <a:off x="636224" y="6237298"/>
            <a:ext cx="7920000" cy="0"/>
          </a:xfrm>
          <a:prstGeom prst="line">
            <a:avLst/>
          </a:prstGeom>
          <a:ln w="6350">
            <a:solidFill>
              <a:srgbClr val="2B2A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12775" y="6083300"/>
            <a:ext cx="7943850" cy="153988"/>
          </a:xfrm>
        </p:spPr>
        <p:txBody>
          <a:bodyPr anchor="b"/>
          <a:lstStyle>
            <a:lvl1pPr marL="90487" indent="0">
              <a:buNone/>
              <a:defRPr sz="800">
                <a:solidFill>
                  <a:srgbClr val="989898"/>
                </a:solidFill>
              </a:defRPr>
            </a:lvl1pPr>
            <a:lvl2pPr marL="457200" indent="0">
              <a:buNone/>
              <a:defRPr sz="800">
                <a:solidFill>
                  <a:srgbClr val="989898"/>
                </a:solidFill>
              </a:defRPr>
            </a:lvl2pPr>
            <a:lvl3pPr marL="914400" indent="0">
              <a:buNone/>
              <a:defRPr sz="800">
                <a:solidFill>
                  <a:srgbClr val="989898"/>
                </a:solidFill>
              </a:defRPr>
            </a:lvl3pPr>
            <a:lvl4pPr marL="1371600" indent="0">
              <a:buNone/>
              <a:defRPr sz="800">
                <a:solidFill>
                  <a:srgbClr val="989898"/>
                </a:solidFill>
              </a:defRPr>
            </a:lvl4pPr>
            <a:lvl5pPr marL="1828800" indent="0">
              <a:buNone/>
              <a:defRPr sz="800">
                <a:solidFill>
                  <a:srgbClr val="989898"/>
                </a:solidFill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272434185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19124" y="455613"/>
            <a:ext cx="8407855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b" anchorCtr="0" compatLnSpc="1">
            <a:prstTxWarp prst="textNoShape">
              <a:avLst/>
            </a:prstTxWarp>
            <a:noAutofit/>
          </a:bodyPr>
          <a:lstStyle>
            <a:lvl1pPr>
              <a:defRPr sz="2400"/>
            </a:lvl1pPr>
          </a:lstStyle>
          <a:p>
            <a:pPr lvl="0"/>
            <a:r>
              <a:rPr lang="en-US" dirty="0"/>
              <a:t>Click to Enter Page Title</a:t>
            </a: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11188" y="1350963"/>
            <a:ext cx="7956000" cy="46008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600"/>
            </a:lvl1pPr>
            <a:lvl2pPr>
              <a:spcBef>
                <a:spcPts val="0"/>
              </a:spcBef>
              <a:defRPr sz="1600"/>
            </a:lvl2pPr>
            <a:lvl3pPr>
              <a:spcBef>
                <a:spcPts val="0"/>
              </a:spcBef>
              <a:defRPr sz="1600"/>
            </a:lvl3pPr>
            <a:lvl4pPr>
              <a:spcBef>
                <a:spcPts val="0"/>
              </a:spcBef>
              <a:defRPr sz="1600"/>
            </a:lvl4pPr>
            <a:lvl5pPr>
              <a:spcBef>
                <a:spcPts val="0"/>
              </a:spcBef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11188" y="6040540"/>
            <a:ext cx="7956000" cy="22263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8626156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re et contenu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9794985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34" name="think-cell Folie" r:id="rId5" imgW="499" imgH="499" progId="TCLayout.ActiveDocument.1">
                  <p:embed/>
                </p:oleObj>
              </mc:Choice>
              <mc:Fallback>
                <p:oleObj name="think-cell Folie" r:id="rId5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rme libre : forme 18"/>
          <p:cNvSpPr>
            <a:spLocks/>
          </p:cNvSpPr>
          <p:nvPr userDrawn="1"/>
        </p:nvSpPr>
        <p:spPr bwMode="auto">
          <a:xfrm>
            <a:off x="939869" y="381188"/>
            <a:ext cx="5792373" cy="838200"/>
          </a:xfrm>
          <a:custGeom>
            <a:avLst/>
            <a:gdLst>
              <a:gd name="connsiteX0" fmla="*/ 307975 w 5792373"/>
              <a:gd name="connsiteY0" fmla="*/ 0 h 628650"/>
              <a:gd name="connsiteX1" fmla="*/ 5792373 w 5792373"/>
              <a:gd name="connsiteY1" fmla="*/ 0 h 628650"/>
              <a:gd name="connsiteX2" fmla="*/ 5792373 w 5792373"/>
              <a:gd name="connsiteY2" fmla="*/ 628650 h 628650"/>
              <a:gd name="connsiteX3" fmla="*/ 0 w 5792373"/>
              <a:gd name="connsiteY3" fmla="*/ 628650 h 628650"/>
              <a:gd name="connsiteX4" fmla="*/ 69850 w 5792373"/>
              <a:gd name="connsiteY4" fmla="*/ 466725 h 628650"/>
              <a:gd name="connsiteX5" fmla="*/ 142875 w 5792373"/>
              <a:gd name="connsiteY5" fmla="*/ 307975 h 628650"/>
              <a:gd name="connsiteX6" fmla="*/ 222250 w 5792373"/>
              <a:gd name="connsiteY6" fmla="*/ 152400 h 628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92373" h="628650">
                <a:moveTo>
                  <a:pt x="307975" y="0"/>
                </a:moveTo>
                <a:lnTo>
                  <a:pt x="5792373" y="0"/>
                </a:lnTo>
                <a:lnTo>
                  <a:pt x="5792373" y="628650"/>
                </a:lnTo>
                <a:lnTo>
                  <a:pt x="0" y="628650"/>
                </a:lnTo>
                <a:lnTo>
                  <a:pt x="69850" y="466725"/>
                </a:lnTo>
                <a:lnTo>
                  <a:pt x="142875" y="307975"/>
                </a:lnTo>
                <a:lnTo>
                  <a:pt x="222250" y="152400"/>
                </a:lnTo>
                <a:close/>
              </a:path>
            </a:pathLst>
          </a:custGeom>
          <a:solidFill>
            <a:srgbClr val="CFB28B">
              <a:alpha val="8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444492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259633" y="356658"/>
            <a:ext cx="5472609" cy="864097"/>
          </a:xfrm>
        </p:spPr>
        <p:txBody>
          <a:bodyPr/>
          <a:lstStyle>
            <a:lvl1pPr algn="l">
              <a:defRPr cap="all" baseline="0"/>
            </a:lvl1pPr>
          </a:lstStyle>
          <a:p>
            <a:r>
              <a:rPr lang="en-US" dirty="0"/>
              <a:t>MODIFIEZ LE STYLE DU T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3784BD-AEF4-4952-A313-2EBF09C498B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980"/>
          <a:stretch/>
        </p:blipFill>
        <p:spPr>
          <a:xfrm>
            <a:off x="7054955" y="284649"/>
            <a:ext cx="1722290" cy="1008112"/>
          </a:xfrm>
          <a:prstGeom prst="rect">
            <a:avLst/>
          </a:prstGeom>
        </p:spPr>
      </p:pic>
      <p:pic>
        <p:nvPicPr>
          <p:cNvPr id="9" name="Image 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9574" y="6173081"/>
            <a:ext cx="564852" cy="642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4025308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3" y="284163"/>
            <a:ext cx="7939087" cy="841375"/>
          </a:xfrm>
        </p:spPr>
        <p:txBody>
          <a:bodyPr/>
          <a:lstStyle/>
          <a:p>
            <a:r>
              <a:rPr lang="en-US" noProof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27063" y="1390650"/>
            <a:ext cx="7939087" cy="4248150"/>
          </a:xfrm>
        </p:spPr>
        <p:txBody>
          <a:bodyPr/>
          <a:lstStyle/>
          <a:p>
            <a:pPr lvl="0"/>
            <a:r>
              <a:rPr lang="en-US" noProof="0" dirty="0" err="1"/>
              <a:t>Modifiez</a:t>
            </a:r>
            <a:r>
              <a:rPr lang="en-US" noProof="0" dirty="0"/>
              <a:t>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Quatr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4"/>
            <a:r>
              <a:rPr lang="en-US" noProof="0" dirty="0" err="1"/>
              <a:t>Cinqu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0"/>
          </p:nvPr>
        </p:nvSpPr>
        <p:spPr>
          <a:xfrm>
            <a:off x="5203825" y="6427788"/>
            <a:ext cx="2895600" cy="238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444492"/>
                </a:solidFill>
              </a:rPr>
              <a:t>BD Asia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</a:t>
            </a:r>
            <a:r>
              <a:rPr lang="en-US" sz="900" baseline="16000" dirty="0"/>
              <a:t>         </a:t>
            </a:r>
            <a:fld id="{2055171F-CD83-4488-84E0-4CA1E5B3EB1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5202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05006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8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A0C6CBA3-07E0-4E5A-9CBC-84DDD6F62137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0864004"/>
      </p:ext>
    </p:extLst>
  </p:cSld>
  <p:clrMapOvr>
    <a:masterClrMapping/>
  </p:clrMapOvr>
  <p:transition>
    <p:fade/>
  </p:transition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7571" y="0"/>
            <a:ext cx="8545484" cy="841375"/>
          </a:xfrm>
        </p:spPr>
        <p:txBody>
          <a:bodyPr/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07571" y="1321723"/>
            <a:ext cx="4173942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6815" y="1321723"/>
            <a:ext cx="4206240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CA6D8E2-A421-439A-9542-C7671204AF4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0079061"/>
      </p:ext>
    </p:extLst>
  </p:cSld>
  <p:clrMapOvr>
    <a:masterClrMapping/>
  </p:clrMapOvr>
  <p:transition>
    <p:fade/>
  </p:transition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8" y="0"/>
            <a:ext cx="8537171" cy="84137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82E74FB-98A9-4760-AAB1-CA40FB5892D0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9252583"/>
      </p:ext>
    </p:extLst>
  </p:cSld>
  <p:clrMapOvr>
    <a:masterClrMapping/>
  </p:clrMapOvr>
  <p:transition>
    <p:fade/>
  </p:transition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E535B98-BEBB-425D-BC8E-307821EDBAC0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8931802"/>
      </p:ext>
    </p:extLst>
  </p:cSld>
  <p:clrMapOvr>
    <a:masterClrMapping/>
  </p:clrMapOvr>
  <p:transition>
    <p:fade/>
  </p:transition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age dégag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557213"/>
            <a:ext cx="9144000" cy="7318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96E64F78-AC8F-42E3-9C77-64ECDFE42C1E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7026570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9" y="0"/>
            <a:ext cx="8553796" cy="90011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299259" y="1350963"/>
            <a:ext cx="8553796" cy="4758892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8368374"/>
      </p:ext>
    </p:extLst>
  </p:cSld>
  <p:clrMapOvr>
    <a:masterClrMapping/>
  </p:clrMapOvr>
  <p:transition>
    <p:fade/>
  </p:transition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>
  <p:cSld name="Titre et texte sur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2633" y="0"/>
            <a:ext cx="8613660" cy="847898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282633" y="1246909"/>
            <a:ext cx="8613660" cy="2326554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82633" y="3763052"/>
            <a:ext cx="8613660" cy="232821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8966072"/>
      </p:ext>
    </p:extLst>
  </p:cSld>
  <p:clrMapOvr>
    <a:masterClrMapping/>
  </p:clrMapOvr>
  <p:transition>
    <p:fade/>
  </p:transition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9" y="0"/>
            <a:ext cx="8553796" cy="90011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299259" y="1350963"/>
            <a:ext cx="8553796" cy="4758892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2170991"/>
      </p:ext>
    </p:extLst>
  </p:cSld>
  <p:clrMapOvr>
    <a:masterClrMapping/>
  </p:clrMapOvr>
  <p:transition>
    <p:fade/>
  </p:transition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9" descr="fond_150dpi_bleu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>
            <a:fillRect/>
          </a:stretch>
        </p:blipFill>
        <p:spPr bwMode="auto">
          <a:xfrm>
            <a:off x="0" y="0"/>
            <a:ext cx="9144000" cy="6275388"/>
          </a:xfrm>
          <a:prstGeom prst="rect">
            <a:avLst/>
          </a:prstGeom>
          <a:solidFill>
            <a:srgbClr val="45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8" y="2176463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u titr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es sous-titres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E7423CB-C39B-46B7-9A76-B744759BC04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3340300"/>
      </p:ext>
    </p:extLst>
  </p:cSld>
  <p:clrMapOvr>
    <a:masterClrMapping/>
  </p:clrMapOvr>
  <p:transition>
    <p:fade/>
  </p:transition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 userDrawn="1"/>
        </p:nvSpPr>
        <p:spPr bwMode="auto">
          <a:xfrm>
            <a:off x="0" y="0"/>
            <a:ext cx="9144000" cy="6318250"/>
          </a:xfrm>
          <a:prstGeom prst="rect">
            <a:avLst/>
          </a:prstGeom>
          <a:solidFill>
            <a:srgbClr val="44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4400" eaLnBrk="1" hangingPunct="1"/>
            <a:endParaRPr lang="en-US" dirty="0">
              <a:solidFill>
                <a:srgbClr val="444492"/>
              </a:solidFill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CA6FA23-9279-480B-970E-FA3CDB694608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0938905"/>
      </p:ext>
    </p:extLst>
  </p:cSld>
  <p:clrMapOvr>
    <a:masterClrMapping/>
  </p:clrMapOvr>
  <p:transition>
    <p:fade/>
  </p:transition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r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0" y="0"/>
            <a:ext cx="7952787" cy="763011"/>
          </a:xfrm>
        </p:spPr>
        <p:txBody>
          <a:bodyPr anchor="ctr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8"/>
          <p:cNvSpPr>
            <a:spLocks noGrp="1" noChangeArrowheads="1"/>
          </p:cNvSpPr>
          <p:nvPr>
            <p:ph type="ftr" sz="quarter" idx="10"/>
          </p:nvPr>
        </p:nvSpPr>
        <p:spPr>
          <a:xfrm>
            <a:off x="5076825" y="6421212"/>
            <a:ext cx="2895600" cy="238125"/>
          </a:xfrm>
          <a:prstGeom prst="rect">
            <a:avLst/>
          </a:prstGeom>
          <a:ln/>
        </p:spPr>
        <p:txBody>
          <a:bodyPr anchor="ctr"/>
          <a:lstStyle>
            <a:lvl1pPr>
              <a:defRPr sz="1400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444492"/>
              </a:solidFill>
              <a:latin typeface="Arial"/>
            </a:endParaRPr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188958-8517-4D7A-AE47-DFA241C8D41C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618056" y="763010"/>
            <a:ext cx="7946636" cy="0"/>
            <a:chOff x="618056" y="1259571"/>
            <a:chExt cx="7946636" cy="0"/>
          </a:xfrm>
        </p:grpSpPr>
        <p:cxnSp>
          <p:nvCxnSpPr>
            <p:cNvPr id="7" name="Connecteur droit 6"/>
            <p:cNvCxnSpPr/>
            <p:nvPr userDrawn="1"/>
          </p:nvCxnSpPr>
          <p:spPr>
            <a:xfrm>
              <a:off x="618056" y="1259571"/>
              <a:ext cx="2670151" cy="0"/>
            </a:xfrm>
            <a:prstGeom prst="line">
              <a:avLst/>
            </a:prstGeom>
            <a:ln w="22225">
              <a:solidFill>
                <a:srgbClr val="BCA36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8"/>
            <p:cNvCxnSpPr/>
            <p:nvPr userDrawn="1"/>
          </p:nvCxnSpPr>
          <p:spPr>
            <a:xfrm>
              <a:off x="5900692" y="1259571"/>
              <a:ext cx="2664000" cy="0"/>
            </a:xfrm>
            <a:prstGeom prst="line">
              <a:avLst/>
            </a:prstGeom>
            <a:ln w="22225">
              <a:solidFill>
                <a:srgbClr val="AEB41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necteur droit 7"/>
            <p:cNvCxnSpPr/>
            <p:nvPr userDrawn="1"/>
          </p:nvCxnSpPr>
          <p:spPr>
            <a:xfrm>
              <a:off x="3279316" y="1259571"/>
              <a:ext cx="2628000" cy="0"/>
            </a:xfrm>
            <a:prstGeom prst="line">
              <a:avLst/>
            </a:prstGeom>
            <a:ln w="22225">
              <a:solidFill>
                <a:srgbClr val="34398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" name="Connecteur droit 11"/>
          <p:cNvCxnSpPr/>
          <p:nvPr userDrawn="1"/>
        </p:nvCxnSpPr>
        <p:spPr>
          <a:xfrm>
            <a:off x="636224" y="6237298"/>
            <a:ext cx="7920000" cy="0"/>
          </a:xfrm>
          <a:prstGeom prst="line">
            <a:avLst/>
          </a:prstGeom>
          <a:ln w="6350">
            <a:solidFill>
              <a:srgbClr val="2B2A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12775" y="6083300"/>
            <a:ext cx="7943850" cy="153988"/>
          </a:xfrm>
        </p:spPr>
        <p:txBody>
          <a:bodyPr anchor="b"/>
          <a:lstStyle>
            <a:lvl1pPr marL="90487" indent="0">
              <a:buNone/>
              <a:defRPr sz="800">
                <a:solidFill>
                  <a:srgbClr val="989898"/>
                </a:solidFill>
              </a:defRPr>
            </a:lvl1pPr>
            <a:lvl2pPr marL="457200" indent="0">
              <a:buNone/>
              <a:defRPr sz="800">
                <a:solidFill>
                  <a:srgbClr val="989898"/>
                </a:solidFill>
              </a:defRPr>
            </a:lvl2pPr>
            <a:lvl3pPr marL="914400" indent="0">
              <a:buNone/>
              <a:defRPr sz="800">
                <a:solidFill>
                  <a:srgbClr val="989898"/>
                </a:solidFill>
              </a:defRPr>
            </a:lvl3pPr>
            <a:lvl4pPr marL="1371600" indent="0">
              <a:buNone/>
              <a:defRPr sz="800">
                <a:solidFill>
                  <a:srgbClr val="989898"/>
                </a:solidFill>
              </a:defRPr>
            </a:lvl4pPr>
            <a:lvl5pPr marL="1828800" indent="0">
              <a:buNone/>
              <a:defRPr sz="800">
                <a:solidFill>
                  <a:srgbClr val="989898"/>
                </a:solidFill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040751054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19124" y="455613"/>
            <a:ext cx="8407855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b" anchorCtr="0" compatLnSpc="1">
            <a:prstTxWarp prst="textNoShape">
              <a:avLst/>
            </a:prstTxWarp>
            <a:noAutofit/>
          </a:bodyPr>
          <a:lstStyle>
            <a:lvl1pPr>
              <a:defRPr sz="2400"/>
            </a:lvl1pPr>
          </a:lstStyle>
          <a:p>
            <a:pPr lvl="0"/>
            <a:r>
              <a:rPr lang="en-US" dirty="0"/>
              <a:t>Click to Enter Page Title</a:t>
            </a: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11188" y="1350963"/>
            <a:ext cx="7956000" cy="46008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600"/>
            </a:lvl1pPr>
            <a:lvl2pPr>
              <a:spcBef>
                <a:spcPts val="0"/>
              </a:spcBef>
              <a:defRPr sz="1600"/>
            </a:lvl2pPr>
            <a:lvl3pPr>
              <a:spcBef>
                <a:spcPts val="0"/>
              </a:spcBef>
              <a:defRPr sz="1600"/>
            </a:lvl3pPr>
            <a:lvl4pPr>
              <a:spcBef>
                <a:spcPts val="0"/>
              </a:spcBef>
              <a:defRPr sz="1600"/>
            </a:lvl4pPr>
            <a:lvl5pPr>
              <a:spcBef>
                <a:spcPts val="0"/>
              </a:spcBef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11188" y="6040540"/>
            <a:ext cx="7956000" cy="22263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2090993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re et contenu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8093646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106" name="think-cell Folie" r:id="rId5" imgW="499" imgH="499" progId="TCLayout.ActiveDocument.1">
                  <p:embed/>
                </p:oleObj>
              </mc:Choice>
              <mc:Fallback>
                <p:oleObj name="think-cell Folie" r:id="rId5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rme libre : forme 18"/>
          <p:cNvSpPr>
            <a:spLocks/>
          </p:cNvSpPr>
          <p:nvPr userDrawn="1"/>
        </p:nvSpPr>
        <p:spPr bwMode="auto">
          <a:xfrm>
            <a:off x="939869" y="381188"/>
            <a:ext cx="5792373" cy="838200"/>
          </a:xfrm>
          <a:custGeom>
            <a:avLst/>
            <a:gdLst>
              <a:gd name="connsiteX0" fmla="*/ 307975 w 5792373"/>
              <a:gd name="connsiteY0" fmla="*/ 0 h 628650"/>
              <a:gd name="connsiteX1" fmla="*/ 5792373 w 5792373"/>
              <a:gd name="connsiteY1" fmla="*/ 0 h 628650"/>
              <a:gd name="connsiteX2" fmla="*/ 5792373 w 5792373"/>
              <a:gd name="connsiteY2" fmla="*/ 628650 h 628650"/>
              <a:gd name="connsiteX3" fmla="*/ 0 w 5792373"/>
              <a:gd name="connsiteY3" fmla="*/ 628650 h 628650"/>
              <a:gd name="connsiteX4" fmla="*/ 69850 w 5792373"/>
              <a:gd name="connsiteY4" fmla="*/ 466725 h 628650"/>
              <a:gd name="connsiteX5" fmla="*/ 142875 w 5792373"/>
              <a:gd name="connsiteY5" fmla="*/ 307975 h 628650"/>
              <a:gd name="connsiteX6" fmla="*/ 222250 w 5792373"/>
              <a:gd name="connsiteY6" fmla="*/ 152400 h 628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92373" h="628650">
                <a:moveTo>
                  <a:pt x="307975" y="0"/>
                </a:moveTo>
                <a:lnTo>
                  <a:pt x="5792373" y="0"/>
                </a:lnTo>
                <a:lnTo>
                  <a:pt x="5792373" y="628650"/>
                </a:lnTo>
                <a:lnTo>
                  <a:pt x="0" y="628650"/>
                </a:lnTo>
                <a:lnTo>
                  <a:pt x="69850" y="466725"/>
                </a:lnTo>
                <a:lnTo>
                  <a:pt x="142875" y="307975"/>
                </a:lnTo>
                <a:lnTo>
                  <a:pt x="222250" y="152400"/>
                </a:lnTo>
                <a:close/>
              </a:path>
            </a:pathLst>
          </a:custGeom>
          <a:solidFill>
            <a:srgbClr val="CFB28B">
              <a:alpha val="8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444492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259633" y="356658"/>
            <a:ext cx="5472609" cy="864097"/>
          </a:xfrm>
        </p:spPr>
        <p:txBody>
          <a:bodyPr/>
          <a:lstStyle>
            <a:lvl1pPr algn="l">
              <a:defRPr cap="all" baseline="0"/>
            </a:lvl1pPr>
          </a:lstStyle>
          <a:p>
            <a:r>
              <a:rPr lang="en-US" dirty="0"/>
              <a:t>MODIFIEZ LE STYLE DU TITR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3784BD-AEF4-4952-A313-2EBF09C498B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980"/>
          <a:stretch/>
        </p:blipFill>
        <p:spPr>
          <a:xfrm>
            <a:off x="7054955" y="284649"/>
            <a:ext cx="1722290" cy="1008112"/>
          </a:xfrm>
          <a:prstGeom prst="rect">
            <a:avLst/>
          </a:prstGeom>
        </p:spPr>
      </p:pic>
      <p:pic>
        <p:nvPicPr>
          <p:cNvPr id="9" name="Image 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9574" y="6173081"/>
            <a:ext cx="564852" cy="642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2448766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3" y="284163"/>
            <a:ext cx="7939087" cy="841375"/>
          </a:xfrm>
        </p:spPr>
        <p:txBody>
          <a:bodyPr/>
          <a:lstStyle/>
          <a:p>
            <a:r>
              <a:rPr lang="en-US" noProof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27063" y="1390650"/>
            <a:ext cx="7939087" cy="4248150"/>
          </a:xfrm>
        </p:spPr>
        <p:txBody>
          <a:bodyPr/>
          <a:lstStyle/>
          <a:p>
            <a:pPr lvl="0"/>
            <a:r>
              <a:rPr lang="en-US" noProof="0" dirty="0" err="1"/>
              <a:t>Modifiez</a:t>
            </a:r>
            <a:r>
              <a:rPr lang="en-US" noProof="0" dirty="0"/>
              <a:t>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Quatr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4"/>
            <a:r>
              <a:rPr lang="en-US" noProof="0" dirty="0" err="1"/>
              <a:t>Cinqu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0"/>
          </p:nvPr>
        </p:nvSpPr>
        <p:spPr>
          <a:xfrm>
            <a:off x="5203825" y="6427788"/>
            <a:ext cx="2895600" cy="238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444492"/>
                </a:solidFill>
              </a:rPr>
              <a:t>BD Asia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</a:t>
            </a:r>
            <a:r>
              <a:rPr lang="en-US" sz="900" baseline="16000" dirty="0"/>
              <a:t>         </a:t>
            </a:r>
            <a:fld id="{2055171F-CD83-4488-84E0-4CA1E5B3EB1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3326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0888334"/>
              </p:ext>
            </p:extLst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A0C6CBA3-07E0-4E5A-9CBC-84DDD6F62137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3183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7573" y="6"/>
            <a:ext cx="8545484" cy="841375"/>
          </a:xfrm>
        </p:spPr>
        <p:txBody>
          <a:bodyPr/>
          <a:lstStyle>
            <a:lvl1pPr>
              <a:defRPr sz="24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07571" y="1321723"/>
            <a:ext cx="4173942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6815" y="1321723"/>
            <a:ext cx="4206240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CA6D8E2-A421-439A-9542-C7671204AF4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4210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9" descr="fond_150dpi_bleu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>
            <a:fillRect/>
          </a:stretch>
        </p:blipFill>
        <p:spPr bwMode="auto">
          <a:xfrm>
            <a:off x="0" y="0"/>
            <a:ext cx="9144000" cy="6275388"/>
          </a:xfrm>
          <a:prstGeom prst="rect">
            <a:avLst/>
          </a:prstGeom>
          <a:solidFill>
            <a:srgbClr val="45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8" y="2176463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u titr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es sous-titres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E7423CB-C39B-46B7-9A76-B744759BC04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1009918"/>
      </p:ext>
    </p:extLst>
  </p:cSld>
  <p:clrMapOvr>
    <a:masterClrMapping/>
  </p:clrMapOvr>
  <p:transition>
    <p:fade/>
  </p:transition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61" y="6"/>
            <a:ext cx="8537171" cy="84137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82E74FB-98A9-4760-AAB1-CA40FB5892D0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2179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E535B98-BEBB-425D-BC8E-307821EDBAC0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4536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age dégag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557217"/>
            <a:ext cx="9144000" cy="7318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96E64F78-AC8F-42E3-9C77-64ECDFE42C1E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5459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9" descr="fond_150dpi_bleu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>
            <a:fillRect/>
          </a:stretch>
        </p:blipFill>
        <p:spPr bwMode="auto">
          <a:xfrm>
            <a:off x="0" y="0"/>
            <a:ext cx="9144000" cy="6275388"/>
          </a:xfrm>
          <a:prstGeom prst="rect">
            <a:avLst/>
          </a:prstGeom>
          <a:solidFill>
            <a:srgbClr val="45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91" y="2176469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quez pour modifier le style du titr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quez pour modifier le style des sous-titres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E7423CB-C39B-46B7-9A76-B744759BC04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545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 userDrawn="1"/>
        </p:nvSpPr>
        <p:spPr bwMode="auto">
          <a:xfrm>
            <a:off x="0" y="0"/>
            <a:ext cx="9144000" cy="6318250"/>
          </a:xfrm>
          <a:prstGeom prst="rect">
            <a:avLst/>
          </a:prstGeom>
          <a:solidFill>
            <a:srgbClr val="44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4400" eaLnBrk="1" hangingPunct="1"/>
            <a:endParaRPr lang="en-US" dirty="0">
              <a:solidFill>
                <a:srgbClr val="444492"/>
              </a:solidFill>
              <a:latin typeface="Arial"/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CA6FA23-9279-480B-970E-FA3CDB694608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6491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r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2" y="6"/>
            <a:ext cx="7952787" cy="763011"/>
          </a:xfrm>
        </p:spPr>
        <p:txBody>
          <a:bodyPr anchor="ctr"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28"/>
          <p:cNvSpPr>
            <a:spLocks noGrp="1" noChangeArrowheads="1"/>
          </p:cNvSpPr>
          <p:nvPr>
            <p:ph type="ftr" sz="quarter" idx="10"/>
          </p:nvPr>
        </p:nvSpPr>
        <p:spPr>
          <a:xfrm>
            <a:off x="5076825" y="6421218"/>
            <a:ext cx="2895600" cy="238125"/>
          </a:xfrm>
          <a:prstGeom prst="rect">
            <a:avLst/>
          </a:prstGeom>
          <a:ln/>
        </p:spPr>
        <p:txBody>
          <a:bodyPr anchor="ctr"/>
          <a:lstStyle>
            <a:lvl1pPr>
              <a:defRPr sz="1400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444492"/>
              </a:solidFill>
              <a:latin typeface="Arial"/>
            </a:endParaRPr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188958-8517-4D7A-AE47-DFA241C8D41C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618058" y="763010"/>
            <a:ext cx="7946636" cy="0"/>
            <a:chOff x="618056" y="1259571"/>
            <a:chExt cx="7946636" cy="0"/>
          </a:xfrm>
        </p:grpSpPr>
        <p:cxnSp>
          <p:nvCxnSpPr>
            <p:cNvPr id="7" name="Connecteur droit 6"/>
            <p:cNvCxnSpPr/>
            <p:nvPr userDrawn="1"/>
          </p:nvCxnSpPr>
          <p:spPr>
            <a:xfrm>
              <a:off x="618056" y="1259571"/>
              <a:ext cx="2670151" cy="0"/>
            </a:xfrm>
            <a:prstGeom prst="line">
              <a:avLst/>
            </a:prstGeom>
            <a:ln w="22225">
              <a:solidFill>
                <a:srgbClr val="BCA36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8"/>
            <p:cNvCxnSpPr/>
            <p:nvPr userDrawn="1"/>
          </p:nvCxnSpPr>
          <p:spPr>
            <a:xfrm>
              <a:off x="5900692" y="1259571"/>
              <a:ext cx="2664000" cy="0"/>
            </a:xfrm>
            <a:prstGeom prst="line">
              <a:avLst/>
            </a:prstGeom>
            <a:ln w="22225">
              <a:solidFill>
                <a:srgbClr val="AEB41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necteur droit 7"/>
            <p:cNvCxnSpPr/>
            <p:nvPr userDrawn="1"/>
          </p:nvCxnSpPr>
          <p:spPr>
            <a:xfrm>
              <a:off x="3279316" y="1259571"/>
              <a:ext cx="2628000" cy="0"/>
            </a:xfrm>
            <a:prstGeom prst="line">
              <a:avLst/>
            </a:prstGeom>
            <a:ln w="22225">
              <a:solidFill>
                <a:srgbClr val="34398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" name="Connecteur droit 11"/>
          <p:cNvCxnSpPr/>
          <p:nvPr userDrawn="1"/>
        </p:nvCxnSpPr>
        <p:spPr>
          <a:xfrm>
            <a:off x="636224" y="6237298"/>
            <a:ext cx="7920000" cy="0"/>
          </a:xfrm>
          <a:prstGeom prst="line">
            <a:avLst/>
          </a:prstGeom>
          <a:ln w="6350">
            <a:solidFill>
              <a:srgbClr val="2B2A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12775" y="6083300"/>
            <a:ext cx="7943850" cy="153988"/>
          </a:xfrm>
        </p:spPr>
        <p:txBody>
          <a:bodyPr anchor="b"/>
          <a:lstStyle>
            <a:lvl1pPr marL="90487" indent="0">
              <a:buNone/>
              <a:defRPr sz="800">
                <a:solidFill>
                  <a:srgbClr val="989898"/>
                </a:solidFill>
              </a:defRPr>
            </a:lvl1pPr>
            <a:lvl2pPr marL="457200" indent="0">
              <a:buNone/>
              <a:defRPr sz="800">
                <a:solidFill>
                  <a:srgbClr val="989898"/>
                </a:solidFill>
              </a:defRPr>
            </a:lvl2pPr>
            <a:lvl3pPr marL="914400" indent="0">
              <a:buNone/>
              <a:defRPr sz="800">
                <a:solidFill>
                  <a:srgbClr val="989898"/>
                </a:solidFill>
              </a:defRPr>
            </a:lvl3pPr>
            <a:lvl4pPr marL="1371600" indent="0">
              <a:buNone/>
              <a:defRPr sz="800">
                <a:solidFill>
                  <a:srgbClr val="989898"/>
                </a:solidFill>
              </a:defRPr>
            </a:lvl4pPr>
            <a:lvl5pPr marL="1828800" indent="0">
              <a:buNone/>
              <a:defRPr sz="800">
                <a:solidFill>
                  <a:srgbClr val="989898"/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48842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19127" y="455613"/>
            <a:ext cx="8407855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b" anchorCtr="0" compatLnSpc="1">
            <a:prstTxWarp prst="textNoShape">
              <a:avLst/>
            </a:prstTxWarp>
            <a:noAutofit/>
          </a:bodyPr>
          <a:lstStyle>
            <a:lvl1pPr>
              <a:defRPr sz="2400"/>
            </a:lvl1pPr>
          </a:lstStyle>
          <a:p>
            <a:pPr lvl="0"/>
            <a:r>
              <a:rPr lang="en-US" dirty="0" smtClean="0"/>
              <a:t>Click to Enter Page Title</a:t>
            </a: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11188" y="1350963"/>
            <a:ext cx="7956000" cy="46008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600"/>
            </a:lvl1pPr>
            <a:lvl2pPr>
              <a:spcBef>
                <a:spcPts val="0"/>
              </a:spcBef>
              <a:defRPr sz="1600"/>
            </a:lvl2pPr>
            <a:lvl3pPr>
              <a:spcBef>
                <a:spcPts val="0"/>
              </a:spcBef>
              <a:defRPr sz="1600"/>
            </a:lvl3pPr>
            <a:lvl4pPr>
              <a:spcBef>
                <a:spcPts val="0"/>
              </a:spcBef>
              <a:defRPr sz="1600"/>
            </a:lvl4pPr>
            <a:lvl5pPr>
              <a:spcBef>
                <a:spcPts val="0"/>
              </a:spcBef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11188" y="6040540"/>
            <a:ext cx="7956000" cy="22263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4663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327" y="6394704"/>
            <a:ext cx="5172075" cy="2317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400" eaLnBrk="1" hangingPunct="1">
              <a:defRPr/>
            </a:pPr>
            <a:endParaRPr lang="en-US" sz="2800" dirty="0">
              <a:solidFill>
                <a:srgbClr val="4B4B4B"/>
              </a:solidFill>
              <a:latin typeface="Arial"/>
              <a:ea typeface="+mn-ea"/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228600" y="152402"/>
            <a:ext cx="8464550" cy="593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496383" y="6574389"/>
            <a:ext cx="456974" cy="2324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50" tIns="45627" rIns="91250" bIns="45627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2"/>
                </a:solidFill>
                <a:latin typeface="Arial" charset="0"/>
                <a:ea typeface="MS PGothic" pitchFamily="34" charset="-128"/>
                <a:cs typeface="Arial" charset="0"/>
              </a:defRPr>
            </a:lvl1pPr>
          </a:lstStyle>
          <a:p>
            <a:pPr>
              <a:defRPr/>
            </a:pPr>
            <a:fld id="{71BEFE17-9257-4F86-886E-4FE8359DDC98}" type="slidenum">
              <a:rPr lang="en-US" smtClean="0">
                <a:solidFill>
                  <a:srgbClr val="FF8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8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6667628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24136" y="234293"/>
            <a:ext cx="8464550" cy="593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3732663" y="0"/>
            <a:ext cx="1678674" cy="211067"/>
          </a:xfrm>
          <a:prstGeom prst="rect">
            <a:avLst/>
          </a:prstGeom>
        </p:spPr>
        <p:txBody>
          <a:bodyPr/>
          <a:lstStyle>
            <a:lvl1pPr>
              <a:defRPr sz="1200" b="1">
                <a:solidFill>
                  <a:srgbClr val="FF0000"/>
                </a:solidFill>
                <a:cs typeface="+mn-cs"/>
              </a:defRPr>
            </a:lvl1pPr>
          </a:lstStyle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smtClean="0">
                <a:latin typeface="Arial"/>
                <a:ea typeface="+mn-ea"/>
              </a:rPr>
              <a:t>Draft for discussion</a:t>
            </a:r>
            <a:endParaRPr lang="en-US" dirty="0">
              <a:latin typeface="Arial"/>
              <a:ea typeface="+mn-ea"/>
            </a:endParaRP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800">
                <a:solidFill>
                  <a:srgbClr val="FF8000"/>
                </a:solidFill>
                <a:latin typeface="Arial" charset="0"/>
                <a:ea typeface="MS PGothic" pitchFamily="34" charset="-128"/>
                <a:cs typeface="Arial" charset="0"/>
              </a:defRPr>
            </a:lvl1pPr>
          </a:lstStyle>
          <a:p>
            <a:pPr>
              <a:defRPr/>
            </a:pPr>
            <a:fld id="{ADF06A09-2BF7-41EE-BAD7-AEADF6E0A6C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7408516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10944"/>
              </p:ext>
            </p:extLst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2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A0C6CBA3-07E0-4E5A-9CBC-84DDD6F62137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7562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 userDrawn="1"/>
        </p:nvSpPr>
        <p:spPr bwMode="auto">
          <a:xfrm>
            <a:off x="0" y="0"/>
            <a:ext cx="9144000" cy="6318250"/>
          </a:xfrm>
          <a:prstGeom prst="rect">
            <a:avLst/>
          </a:prstGeom>
          <a:solidFill>
            <a:srgbClr val="44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4400" eaLnBrk="1" hangingPunct="1"/>
            <a:endParaRPr lang="en-US" dirty="0">
              <a:solidFill>
                <a:srgbClr val="444492"/>
              </a:solidFill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CA6FA23-9279-480B-970E-FA3CDB694608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0437693"/>
      </p:ext>
    </p:extLst>
  </p:cSld>
  <p:clrMapOvr>
    <a:masterClrMapping/>
  </p:clrMapOvr>
  <p:transition>
    <p:fade/>
  </p:transition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7573" y="6"/>
            <a:ext cx="8545484" cy="841375"/>
          </a:xfrm>
        </p:spPr>
        <p:txBody>
          <a:bodyPr/>
          <a:lstStyle>
            <a:lvl1pPr>
              <a:defRPr sz="24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07571" y="1321723"/>
            <a:ext cx="4173942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6815" y="1321723"/>
            <a:ext cx="4206240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CA6D8E2-A421-439A-9542-C7671204AF4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9675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61" y="6"/>
            <a:ext cx="8537171" cy="84137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82E74FB-98A9-4760-AAB1-CA40FB5892D0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3676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E535B98-BEBB-425D-BC8E-307821EDBAC0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0744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age dégag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557217"/>
            <a:ext cx="9144000" cy="7318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96E64F78-AC8F-42E3-9C77-64ECDFE42C1E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9003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9" y="0"/>
            <a:ext cx="8553796" cy="900113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299259" y="1350963"/>
            <a:ext cx="8553796" cy="4758892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smtClean="0"/>
              <a:t>|</a:t>
            </a:r>
            <a:r>
              <a:rPr lang="en-US" sz="900" baseline="16000" dirty="0" smtClean="0"/>
              <a:t>        </a:t>
            </a:r>
            <a:fld id="{C8A5DD0B-47B8-4FFF-85E0-6207ABAD9D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4987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9" descr="fond_150dpi_bleu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>
            <a:fillRect/>
          </a:stretch>
        </p:blipFill>
        <p:spPr bwMode="auto">
          <a:xfrm>
            <a:off x="0" y="0"/>
            <a:ext cx="9144000" cy="6275388"/>
          </a:xfrm>
          <a:prstGeom prst="rect">
            <a:avLst/>
          </a:prstGeom>
          <a:solidFill>
            <a:srgbClr val="45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91" y="2176469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quez pour modifier le style du titr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quez pour modifier le style des sous-titres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E7423CB-C39B-46B7-9A76-B744759BC04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0183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 userDrawn="1"/>
        </p:nvSpPr>
        <p:spPr bwMode="auto">
          <a:xfrm>
            <a:off x="0" y="0"/>
            <a:ext cx="9144000" cy="6318250"/>
          </a:xfrm>
          <a:prstGeom prst="rect">
            <a:avLst/>
          </a:prstGeom>
          <a:solidFill>
            <a:srgbClr val="44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4400" eaLnBrk="1" hangingPunct="1"/>
            <a:endParaRPr lang="en-US" dirty="0">
              <a:solidFill>
                <a:srgbClr val="444492"/>
              </a:solidFill>
              <a:latin typeface="Arial"/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CA6FA23-9279-480B-970E-FA3CDB694608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4341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r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2" y="6"/>
            <a:ext cx="7952787" cy="763011"/>
          </a:xfrm>
        </p:spPr>
        <p:txBody>
          <a:bodyPr anchor="ctr"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28"/>
          <p:cNvSpPr>
            <a:spLocks noGrp="1" noChangeArrowheads="1"/>
          </p:cNvSpPr>
          <p:nvPr>
            <p:ph type="ftr" sz="quarter" idx="10"/>
          </p:nvPr>
        </p:nvSpPr>
        <p:spPr>
          <a:xfrm>
            <a:off x="5076825" y="6421218"/>
            <a:ext cx="2895600" cy="238125"/>
          </a:xfrm>
          <a:prstGeom prst="rect">
            <a:avLst/>
          </a:prstGeom>
          <a:ln/>
        </p:spPr>
        <p:txBody>
          <a:bodyPr anchor="ctr"/>
          <a:lstStyle>
            <a:lvl1pPr>
              <a:defRPr sz="1400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444492"/>
              </a:solidFill>
              <a:latin typeface="Arial"/>
            </a:endParaRPr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188958-8517-4D7A-AE47-DFA241C8D41C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618058" y="763010"/>
            <a:ext cx="7946636" cy="0"/>
            <a:chOff x="618056" y="1259571"/>
            <a:chExt cx="7946636" cy="0"/>
          </a:xfrm>
        </p:grpSpPr>
        <p:cxnSp>
          <p:nvCxnSpPr>
            <p:cNvPr id="7" name="Connecteur droit 6"/>
            <p:cNvCxnSpPr/>
            <p:nvPr userDrawn="1"/>
          </p:nvCxnSpPr>
          <p:spPr>
            <a:xfrm>
              <a:off x="618056" y="1259571"/>
              <a:ext cx="2670151" cy="0"/>
            </a:xfrm>
            <a:prstGeom prst="line">
              <a:avLst/>
            </a:prstGeom>
            <a:ln w="22225">
              <a:solidFill>
                <a:srgbClr val="BCA36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8"/>
            <p:cNvCxnSpPr/>
            <p:nvPr userDrawn="1"/>
          </p:nvCxnSpPr>
          <p:spPr>
            <a:xfrm>
              <a:off x="5900692" y="1259571"/>
              <a:ext cx="2664000" cy="0"/>
            </a:xfrm>
            <a:prstGeom prst="line">
              <a:avLst/>
            </a:prstGeom>
            <a:ln w="22225">
              <a:solidFill>
                <a:srgbClr val="AEB41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necteur droit 7"/>
            <p:cNvCxnSpPr/>
            <p:nvPr userDrawn="1"/>
          </p:nvCxnSpPr>
          <p:spPr>
            <a:xfrm>
              <a:off x="3279316" y="1259571"/>
              <a:ext cx="2628000" cy="0"/>
            </a:xfrm>
            <a:prstGeom prst="line">
              <a:avLst/>
            </a:prstGeom>
            <a:ln w="22225">
              <a:solidFill>
                <a:srgbClr val="34398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" name="Connecteur droit 11"/>
          <p:cNvCxnSpPr/>
          <p:nvPr userDrawn="1"/>
        </p:nvCxnSpPr>
        <p:spPr>
          <a:xfrm>
            <a:off x="636224" y="6237298"/>
            <a:ext cx="7920000" cy="0"/>
          </a:xfrm>
          <a:prstGeom prst="line">
            <a:avLst/>
          </a:prstGeom>
          <a:ln w="6350">
            <a:solidFill>
              <a:srgbClr val="2B2A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12775" y="6083300"/>
            <a:ext cx="7943850" cy="153988"/>
          </a:xfrm>
        </p:spPr>
        <p:txBody>
          <a:bodyPr anchor="b"/>
          <a:lstStyle>
            <a:lvl1pPr marL="90487" indent="0">
              <a:buNone/>
              <a:defRPr sz="800">
                <a:solidFill>
                  <a:srgbClr val="989898"/>
                </a:solidFill>
              </a:defRPr>
            </a:lvl1pPr>
            <a:lvl2pPr marL="457200" indent="0">
              <a:buNone/>
              <a:defRPr sz="800">
                <a:solidFill>
                  <a:srgbClr val="989898"/>
                </a:solidFill>
              </a:defRPr>
            </a:lvl2pPr>
            <a:lvl3pPr marL="914400" indent="0">
              <a:buNone/>
              <a:defRPr sz="800">
                <a:solidFill>
                  <a:srgbClr val="989898"/>
                </a:solidFill>
              </a:defRPr>
            </a:lvl3pPr>
            <a:lvl4pPr marL="1371600" indent="0">
              <a:buNone/>
              <a:defRPr sz="800">
                <a:solidFill>
                  <a:srgbClr val="989898"/>
                </a:solidFill>
              </a:defRPr>
            </a:lvl4pPr>
            <a:lvl5pPr marL="1828800" indent="0">
              <a:buNone/>
              <a:defRPr sz="800">
                <a:solidFill>
                  <a:srgbClr val="989898"/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00132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19127" y="455613"/>
            <a:ext cx="8407855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b" anchorCtr="0" compatLnSpc="1">
            <a:prstTxWarp prst="textNoShape">
              <a:avLst/>
            </a:prstTxWarp>
            <a:noAutofit/>
          </a:bodyPr>
          <a:lstStyle>
            <a:lvl1pPr>
              <a:defRPr sz="2400"/>
            </a:lvl1pPr>
          </a:lstStyle>
          <a:p>
            <a:pPr lvl="0"/>
            <a:r>
              <a:rPr lang="en-US" dirty="0" smtClean="0"/>
              <a:t>Click to Enter Page Title</a:t>
            </a: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11188" y="1350963"/>
            <a:ext cx="7956000" cy="46008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600"/>
            </a:lvl1pPr>
            <a:lvl2pPr>
              <a:spcBef>
                <a:spcPts val="0"/>
              </a:spcBef>
              <a:defRPr sz="1600"/>
            </a:lvl2pPr>
            <a:lvl3pPr>
              <a:spcBef>
                <a:spcPts val="0"/>
              </a:spcBef>
              <a:defRPr sz="1600"/>
            </a:lvl3pPr>
            <a:lvl4pPr>
              <a:spcBef>
                <a:spcPts val="0"/>
              </a:spcBef>
              <a:defRPr sz="1600"/>
            </a:lvl4pPr>
            <a:lvl5pPr>
              <a:spcBef>
                <a:spcPts val="0"/>
              </a:spcBef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11188" y="6040540"/>
            <a:ext cx="7956000" cy="22263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36542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6" y="284169"/>
            <a:ext cx="7939087" cy="841375"/>
          </a:xfrm>
        </p:spPr>
        <p:txBody>
          <a:bodyPr/>
          <a:lstStyle/>
          <a:p>
            <a:r>
              <a:rPr lang="en-US" noProof="0" smtClean="0"/>
              <a:t>Modifiez le style du titre</a:t>
            </a:r>
            <a:endParaRPr lang="en-US" noProof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27066" y="1390650"/>
            <a:ext cx="7939087" cy="4248150"/>
          </a:xfrm>
        </p:spPr>
        <p:txBody>
          <a:bodyPr/>
          <a:lstStyle/>
          <a:p>
            <a:pPr lvl="0"/>
            <a:r>
              <a:rPr lang="en-US" noProof="0" dirty="0" err="1" smtClean="0"/>
              <a:t>Modifiez</a:t>
            </a:r>
            <a:r>
              <a:rPr lang="en-US" noProof="0" dirty="0" smtClean="0"/>
              <a:t>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Quatr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Cinqu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/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0"/>
          </p:nvPr>
        </p:nvSpPr>
        <p:spPr>
          <a:xfrm>
            <a:off x="5203825" y="6427794"/>
            <a:ext cx="2895600" cy="238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srgbClr val="444492"/>
                </a:solidFill>
                <a:latin typeface="Arial"/>
              </a:rPr>
              <a:t>BD Asia</a:t>
            </a:r>
            <a:endParaRPr lang="en-US" dirty="0">
              <a:solidFill>
                <a:srgbClr val="444492"/>
              </a:solidFill>
              <a:latin typeface="Arial"/>
            </a:endParaRP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</a:t>
            </a:r>
            <a:r>
              <a:rPr lang="en-US" sz="900" baseline="16000" dirty="0"/>
              <a:t>         </a:t>
            </a:r>
            <a:fld id="{2055171F-CD83-4488-84E0-4CA1E5B3EB1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1016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r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0" y="0"/>
            <a:ext cx="7952787" cy="763011"/>
          </a:xfrm>
        </p:spPr>
        <p:txBody>
          <a:bodyPr anchor="ctr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8"/>
          <p:cNvSpPr>
            <a:spLocks noGrp="1" noChangeArrowheads="1"/>
          </p:cNvSpPr>
          <p:nvPr>
            <p:ph type="ftr" sz="quarter" idx="10"/>
          </p:nvPr>
        </p:nvSpPr>
        <p:spPr>
          <a:xfrm>
            <a:off x="5076825" y="6421212"/>
            <a:ext cx="2895600" cy="238125"/>
          </a:xfrm>
          <a:prstGeom prst="rect">
            <a:avLst/>
          </a:prstGeom>
          <a:ln/>
        </p:spPr>
        <p:txBody>
          <a:bodyPr anchor="ctr"/>
          <a:lstStyle>
            <a:lvl1pPr>
              <a:defRPr sz="1400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444492"/>
              </a:solidFill>
              <a:latin typeface="Arial"/>
            </a:endParaRPr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188958-8517-4D7A-AE47-DFA241C8D41C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618056" y="763010"/>
            <a:ext cx="7946636" cy="0"/>
            <a:chOff x="618056" y="1259571"/>
            <a:chExt cx="7946636" cy="0"/>
          </a:xfrm>
        </p:grpSpPr>
        <p:cxnSp>
          <p:nvCxnSpPr>
            <p:cNvPr id="7" name="Connecteur droit 6"/>
            <p:cNvCxnSpPr/>
            <p:nvPr userDrawn="1"/>
          </p:nvCxnSpPr>
          <p:spPr>
            <a:xfrm>
              <a:off x="618056" y="1259571"/>
              <a:ext cx="2670151" cy="0"/>
            </a:xfrm>
            <a:prstGeom prst="line">
              <a:avLst/>
            </a:prstGeom>
            <a:ln w="22225">
              <a:solidFill>
                <a:srgbClr val="BCA36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8"/>
            <p:cNvCxnSpPr/>
            <p:nvPr userDrawn="1"/>
          </p:nvCxnSpPr>
          <p:spPr>
            <a:xfrm>
              <a:off x="5900692" y="1259571"/>
              <a:ext cx="2664000" cy="0"/>
            </a:xfrm>
            <a:prstGeom prst="line">
              <a:avLst/>
            </a:prstGeom>
            <a:ln w="22225">
              <a:solidFill>
                <a:srgbClr val="AEB41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necteur droit 7"/>
            <p:cNvCxnSpPr/>
            <p:nvPr userDrawn="1"/>
          </p:nvCxnSpPr>
          <p:spPr>
            <a:xfrm>
              <a:off x="3279316" y="1259571"/>
              <a:ext cx="2628000" cy="0"/>
            </a:xfrm>
            <a:prstGeom prst="line">
              <a:avLst/>
            </a:prstGeom>
            <a:ln w="22225">
              <a:solidFill>
                <a:srgbClr val="34398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" name="Connecteur droit 11"/>
          <p:cNvCxnSpPr/>
          <p:nvPr userDrawn="1"/>
        </p:nvCxnSpPr>
        <p:spPr>
          <a:xfrm>
            <a:off x="636224" y="6237298"/>
            <a:ext cx="7920000" cy="0"/>
          </a:xfrm>
          <a:prstGeom prst="line">
            <a:avLst/>
          </a:prstGeom>
          <a:ln w="6350">
            <a:solidFill>
              <a:srgbClr val="2B2A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12775" y="6083300"/>
            <a:ext cx="7943850" cy="153988"/>
          </a:xfrm>
        </p:spPr>
        <p:txBody>
          <a:bodyPr anchor="b"/>
          <a:lstStyle>
            <a:lvl1pPr marL="90487" indent="0">
              <a:buNone/>
              <a:defRPr sz="800">
                <a:solidFill>
                  <a:srgbClr val="989898"/>
                </a:solidFill>
              </a:defRPr>
            </a:lvl1pPr>
            <a:lvl2pPr marL="457200" indent="0">
              <a:buNone/>
              <a:defRPr sz="800">
                <a:solidFill>
                  <a:srgbClr val="989898"/>
                </a:solidFill>
              </a:defRPr>
            </a:lvl2pPr>
            <a:lvl3pPr marL="914400" indent="0">
              <a:buNone/>
              <a:defRPr sz="800">
                <a:solidFill>
                  <a:srgbClr val="989898"/>
                </a:solidFill>
              </a:defRPr>
            </a:lvl3pPr>
            <a:lvl4pPr marL="1371600" indent="0">
              <a:buNone/>
              <a:defRPr sz="800">
                <a:solidFill>
                  <a:srgbClr val="989898"/>
                </a:solidFill>
              </a:defRPr>
            </a:lvl4pPr>
            <a:lvl5pPr marL="1828800" indent="0">
              <a:buNone/>
              <a:defRPr sz="800">
                <a:solidFill>
                  <a:srgbClr val="989898"/>
                </a:solidFill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99294084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7805742"/>
              </p:ext>
            </p:extLst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2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040033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0"/>
          </p:nvPr>
        </p:nvSpPr>
        <p:spPr>
          <a:xfrm>
            <a:off x="5165725" y="6427794"/>
            <a:ext cx="2895600" cy="238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444492"/>
                </a:solidFill>
                <a:latin typeface="Arial"/>
              </a:rPr>
              <a:t>Global Portfolio Rationalization - 03-Dec-2014</a:t>
            </a:r>
            <a:endParaRPr lang="en-US">
              <a:solidFill>
                <a:srgbClr val="444492"/>
              </a:solidFill>
              <a:latin typeface="Arial"/>
            </a:endParaRP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|</a:t>
            </a:r>
            <a:r>
              <a:rPr lang="en-US" sz="900" baseline="16000"/>
              <a:t>        </a:t>
            </a:r>
            <a:fld id="{B24F9881-A32D-48B8-9C5A-D27BD9E1C7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5108383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327" y="6394704"/>
            <a:ext cx="5172075" cy="2317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400" eaLnBrk="1" hangingPunct="1">
              <a:defRPr/>
            </a:pPr>
            <a:endParaRPr lang="en-US" sz="2800" dirty="0">
              <a:solidFill>
                <a:srgbClr val="4B4B4B"/>
              </a:solidFill>
              <a:latin typeface="Arial"/>
              <a:ea typeface="+mn-ea"/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228600" y="152402"/>
            <a:ext cx="8464550" cy="593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496383" y="6574389"/>
            <a:ext cx="456974" cy="2324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50" tIns="45627" rIns="91250" bIns="45627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2"/>
                </a:solidFill>
                <a:latin typeface="Arial" charset="0"/>
                <a:ea typeface="MS PGothic" pitchFamily="34" charset="-128"/>
                <a:cs typeface="Arial" charset="0"/>
              </a:defRPr>
            </a:lvl1pPr>
          </a:lstStyle>
          <a:p>
            <a:pPr>
              <a:defRPr/>
            </a:pPr>
            <a:fld id="{71BEFE17-9257-4F86-886E-4FE8359DDC98}" type="slidenum">
              <a:rPr lang="en-US" smtClean="0">
                <a:solidFill>
                  <a:srgbClr val="FF8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8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093415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29010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19124" y="455613"/>
            <a:ext cx="8407855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b" anchorCtr="0" compatLnSpc="1">
            <a:prstTxWarp prst="textNoShape">
              <a:avLst/>
            </a:prstTxWarp>
            <a:noAutofit/>
          </a:bodyPr>
          <a:lstStyle>
            <a:lvl1pPr>
              <a:defRPr sz="2400"/>
            </a:lvl1pPr>
          </a:lstStyle>
          <a:p>
            <a:pPr lvl="0"/>
            <a:r>
              <a:rPr lang="en-US" dirty="0"/>
              <a:t>Click to Enter Page Title</a:t>
            </a: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11188" y="1350963"/>
            <a:ext cx="7956000" cy="46008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600"/>
            </a:lvl1pPr>
            <a:lvl2pPr>
              <a:spcBef>
                <a:spcPts val="0"/>
              </a:spcBef>
              <a:defRPr sz="1600"/>
            </a:lvl2pPr>
            <a:lvl3pPr>
              <a:spcBef>
                <a:spcPts val="0"/>
              </a:spcBef>
              <a:defRPr sz="1600"/>
            </a:lvl3pPr>
            <a:lvl4pPr>
              <a:spcBef>
                <a:spcPts val="0"/>
              </a:spcBef>
              <a:defRPr sz="1600"/>
            </a:lvl4pPr>
            <a:lvl5pPr>
              <a:spcBef>
                <a:spcPts val="0"/>
              </a:spcBef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11188" y="6040540"/>
            <a:ext cx="7956000" cy="22263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4558347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A0C6CBA3-07E0-4E5A-9CBC-84DDD6F62137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9610734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7571" y="0"/>
            <a:ext cx="8545484" cy="841375"/>
          </a:xfrm>
        </p:spPr>
        <p:txBody>
          <a:bodyPr/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07571" y="1321723"/>
            <a:ext cx="4173942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6815" y="1321723"/>
            <a:ext cx="4206240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CA6D8E2-A421-439A-9542-C7671204AF4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1299687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E535B98-BEBB-425D-BC8E-307821EDBAC0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9320005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8" y="0"/>
            <a:ext cx="8537171" cy="84137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82E74FB-98A9-4760-AAB1-CA40FB5892D0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5271282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E535B98-BEBB-425D-BC8E-307821EDBAC0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5499352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age dégag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557213"/>
            <a:ext cx="9144000" cy="7318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96E64F78-AC8F-42E3-9C77-64ECDFE42C1E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6049198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>
  <p:cSld name="Titre et texte sur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2633" y="0"/>
            <a:ext cx="8613660" cy="847898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282633" y="1246909"/>
            <a:ext cx="8613660" cy="2326554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82633" y="3763052"/>
            <a:ext cx="8613660" cy="232821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136666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9" y="0"/>
            <a:ext cx="8553796" cy="90011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299259" y="1350963"/>
            <a:ext cx="8553796" cy="4758892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7433635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9" descr="fond_150dpi_bleu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>
            <a:fillRect/>
          </a:stretch>
        </p:blipFill>
        <p:spPr bwMode="auto">
          <a:xfrm>
            <a:off x="0" y="0"/>
            <a:ext cx="9144000" cy="6275388"/>
          </a:xfrm>
          <a:prstGeom prst="rect">
            <a:avLst/>
          </a:prstGeom>
          <a:solidFill>
            <a:srgbClr val="45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8" y="2176463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u titr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es sous-titres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E7423CB-C39B-46B7-9A76-B744759BC04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8689976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 userDrawn="1"/>
        </p:nvSpPr>
        <p:spPr bwMode="auto">
          <a:xfrm>
            <a:off x="0" y="0"/>
            <a:ext cx="9144000" cy="6318250"/>
          </a:xfrm>
          <a:prstGeom prst="rect">
            <a:avLst/>
          </a:prstGeom>
          <a:solidFill>
            <a:srgbClr val="44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4400" eaLnBrk="1" hangingPunct="1"/>
            <a:endParaRPr lang="en-US" dirty="0">
              <a:solidFill>
                <a:srgbClr val="444492"/>
              </a:solidFill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CA6FA23-9279-480B-970E-FA3CDB694608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401165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r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0" y="0"/>
            <a:ext cx="7952787" cy="763011"/>
          </a:xfrm>
        </p:spPr>
        <p:txBody>
          <a:bodyPr anchor="ctr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8"/>
          <p:cNvSpPr>
            <a:spLocks noGrp="1" noChangeArrowheads="1"/>
          </p:cNvSpPr>
          <p:nvPr>
            <p:ph type="ftr" sz="quarter" idx="10"/>
          </p:nvPr>
        </p:nvSpPr>
        <p:spPr>
          <a:xfrm>
            <a:off x="5076825" y="6421212"/>
            <a:ext cx="2895600" cy="238125"/>
          </a:xfrm>
          <a:prstGeom prst="rect">
            <a:avLst/>
          </a:prstGeom>
          <a:ln/>
        </p:spPr>
        <p:txBody>
          <a:bodyPr anchor="ctr"/>
          <a:lstStyle>
            <a:lvl1pPr>
              <a:defRPr sz="1400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444492"/>
              </a:solidFill>
              <a:latin typeface="Arial"/>
            </a:endParaRPr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188958-8517-4D7A-AE47-DFA241C8D41C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618056" y="763010"/>
            <a:ext cx="7946636" cy="0"/>
            <a:chOff x="618056" y="1259571"/>
            <a:chExt cx="7946636" cy="0"/>
          </a:xfrm>
        </p:grpSpPr>
        <p:cxnSp>
          <p:nvCxnSpPr>
            <p:cNvPr id="7" name="Connecteur droit 6"/>
            <p:cNvCxnSpPr/>
            <p:nvPr userDrawn="1"/>
          </p:nvCxnSpPr>
          <p:spPr>
            <a:xfrm>
              <a:off x="618056" y="1259571"/>
              <a:ext cx="2670151" cy="0"/>
            </a:xfrm>
            <a:prstGeom prst="line">
              <a:avLst/>
            </a:prstGeom>
            <a:ln w="22225">
              <a:solidFill>
                <a:srgbClr val="BCA36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8"/>
            <p:cNvCxnSpPr/>
            <p:nvPr userDrawn="1"/>
          </p:nvCxnSpPr>
          <p:spPr>
            <a:xfrm>
              <a:off x="5900692" y="1259571"/>
              <a:ext cx="2664000" cy="0"/>
            </a:xfrm>
            <a:prstGeom prst="line">
              <a:avLst/>
            </a:prstGeom>
            <a:ln w="22225">
              <a:solidFill>
                <a:srgbClr val="AEB41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necteur droit 7"/>
            <p:cNvCxnSpPr/>
            <p:nvPr userDrawn="1"/>
          </p:nvCxnSpPr>
          <p:spPr>
            <a:xfrm>
              <a:off x="3279316" y="1259571"/>
              <a:ext cx="2628000" cy="0"/>
            </a:xfrm>
            <a:prstGeom prst="line">
              <a:avLst/>
            </a:prstGeom>
            <a:ln w="22225">
              <a:solidFill>
                <a:srgbClr val="34398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" name="Connecteur droit 11"/>
          <p:cNvCxnSpPr/>
          <p:nvPr userDrawn="1"/>
        </p:nvCxnSpPr>
        <p:spPr>
          <a:xfrm>
            <a:off x="636224" y="6237298"/>
            <a:ext cx="7920000" cy="0"/>
          </a:xfrm>
          <a:prstGeom prst="line">
            <a:avLst/>
          </a:prstGeom>
          <a:ln w="6350">
            <a:solidFill>
              <a:srgbClr val="2B2A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12775" y="6083300"/>
            <a:ext cx="7943850" cy="153988"/>
          </a:xfrm>
        </p:spPr>
        <p:txBody>
          <a:bodyPr anchor="b"/>
          <a:lstStyle>
            <a:lvl1pPr marL="90487" indent="0">
              <a:buNone/>
              <a:defRPr sz="800">
                <a:solidFill>
                  <a:srgbClr val="989898"/>
                </a:solidFill>
              </a:defRPr>
            </a:lvl1pPr>
            <a:lvl2pPr marL="457200" indent="0">
              <a:buNone/>
              <a:defRPr sz="800">
                <a:solidFill>
                  <a:srgbClr val="989898"/>
                </a:solidFill>
              </a:defRPr>
            </a:lvl2pPr>
            <a:lvl3pPr marL="914400" indent="0">
              <a:buNone/>
              <a:defRPr sz="800">
                <a:solidFill>
                  <a:srgbClr val="989898"/>
                </a:solidFill>
              </a:defRPr>
            </a:lvl3pPr>
            <a:lvl4pPr marL="1371600" indent="0">
              <a:buNone/>
              <a:defRPr sz="800">
                <a:solidFill>
                  <a:srgbClr val="989898"/>
                </a:solidFill>
              </a:defRPr>
            </a:lvl4pPr>
            <a:lvl5pPr marL="1828800" indent="0">
              <a:buNone/>
              <a:defRPr sz="800">
                <a:solidFill>
                  <a:srgbClr val="989898"/>
                </a:solidFill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50037691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713326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19124" y="455613"/>
            <a:ext cx="8407855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b" anchorCtr="0" compatLnSpc="1">
            <a:prstTxWarp prst="textNoShape">
              <a:avLst/>
            </a:prstTxWarp>
            <a:noAutofit/>
          </a:bodyPr>
          <a:lstStyle>
            <a:lvl1pPr>
              <a:defRPr sz="2400"/>
            </a:lvl1pPr>
          </a:lstStyle>
          <a:p>
            <a:pPr lvl="0"/>
            <a:r>
              <a:rPr lang="en-US" dirty="0"/>
              <a:t>Click to Enter Page Title</a:t>
            </a: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11188" y="1350963"/>
            <a:ext cx="7956000" cy="46008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600"/>
            </a:lvl1pPr>
            <a:lvl2pPr>
              <a:spcBef>
                <a:spcPts val="0"/>
              </a:spcBef>
              <a:defRPr sz="1600"/>
            </a:lvl2pPr>
            <a:lvl3pPr>
              <a:spcBef>
                <a:spcPts val="0"/>
              </a:spcBef>
              <a:defRPr sz="1600"/>
            </a:lvl3pPr>
            <a:lvl4pPr>
              <a:spcBef>
                <a:spcPts val="0"/>
              </a:spcBef>
              <a:defRPr sz="1600"/>
            </a:lvl4pPr>
            <a:lvl5pPr>
              <a:spcBef>
                <a:spcPts val="0"/>
              </a:spcBef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11188" y="6040540"/>
            <a:ext cx="7956000" cy="22263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192111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age dégag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557213"/>
            <a:ext cx="9144000" cy="7318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96E64F78-AC8F-42E3-9C77-64ECDFE42C1E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0180484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3" y="284163"/>
            <a:ext cx="7939087" cy="841375"/>
          </a:xfrm>
        </p:spPr>
        <p:txBody>
          <a:bodyPr/>
          <a:lstStyle/>
          <a:p>
            <a:r>
              <a:rPr lang="en-US" noProof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27063" y="1390650"/>
            <a:ext cx="7939087" cy="4248150"/>
          </a:xfrm>
        </p:spPr>
        <p:txBody>
          <a:bodyPr/>
          <a:lstStyle/>
          <a:p>
            <a:pPr lvl="0"/>
            <a:r>
              <a:rPr lang="en-US" noProof="0" dirty="0" err="1"/>
              <a:t>Modifiez</a:t>
            </a:r>
            <a:r>
              <a:rPr lang="en-US" noProof="0" dirty="0"/>
              <a:t>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Quatr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4"/>
            <a:r>
              <a:rPr lang="en-US" noProof="0" dirty="0" err="1"/>
              <a:t>Cinqu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0"/>
          </p:nvPr>
        </p:nvSpPr>
        <p:spPr>
          <a:xfrm>
            <a:off x="5203825" y="6427788"/>
            <a:ext cx="2895600" cy="238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444492"/>
                </a:solidFill>
              </a:rPr>
              <a:t>BD Asia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</a:t>
            </a:r>
            <a:r>
              <a:rPr lang="en-US" sz="900" baseline="16000" dirty="0"/>
              <a:t>         </a:t>
            </a:r>
            <a:fld id="{2055171F-CD83-4488-84E0-4CA1E5B3EB1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8194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32649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11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A0C6CBA3-07E0-4E5A-9CBC-84DDD6F62137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0785098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7571" y="0"/>
            <a:ext cx="8545484" cy="841375"/>
          </a:xfrm>
        </p:spPr>
        <p:txBody>
          <a:bodyPr/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07571" y="1321723"/>
            <a:ext cx="4173942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6815" y="1321723"/>
            <a:ext cx="4206240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CA6D8E2-A421-439A-9542-C7671204AF4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0924647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8" y="0"/>
            <a:ext cx="8537171" cy="84137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82E74FB-98A9-4760-AAB1-CA40FB5892D0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2049928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E535B98-BEBB-425D-BC8E-307821EDBAC0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1843544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age dégag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557213"/>
            <a:ext cx="9144000" cy="7318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96E64F78-AC8F-42E3-9C77-64ECDFE42C1E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9285444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>
  <p:cSld name="Titre et texte sur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2633" y="0"/>
            <a:ext cx="8613660" cy="847898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282633" y="1246909"/>
            <a:ext cx="8613660" cy="2326554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82633" y="3763052"/>
            <a:ext cx="8613660" cy="232821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945456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9" y="0"/>
            <a:ext cx="8553796" cy="90011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299259" y="1350963"/>
            <a:ext cx="8553796" cy="4758892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0534499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9" descr="fond_150dpi_bleu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>
            <a:fillRect/>
          </a:stretch>
        </p:blipFill>
        <p:spPr bwMode="auto">
          <a:xfrm>
            <a:off x="0" y="0"/>
            <a:ext cx="9144000" cy="6275388"/>
          </a:xfrm>
          <a:prstGeom prst="rect">
            <a:avLst/>
          </a:prstGeom>
          <a:solidFill>
            <a:srgbClr val="45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8" y="2176463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u titr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es sous-titres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E7423CB-C39B-46B7-9A76-B744759BC04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2144590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 userDrawn="1"/>
        </p:nvSpPr>
        <p:spPr bwMode="auto">
          <a:xfrm>
            <a:off x="0" y="0"/>
            <a:ext cx="9144000" cy="6318250"/>
          </a:xfrm>
          <a:prstGeom prst="rect">
            <a:avLst/>
          </a:prstGeom>
          <a:solidFill>
            <a:srgbClr val="44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4400" eaLnBrk="1" hangingPunct="1"/>
            <a:endParaRPr lang="en-US" dirty="0">
              <a:solidFill>
                <a:srgbClr val="444492"/>
              </a:solidFill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CA6FA23-9279-480B-970E-FA3CDB694608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048591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>
  <p:cSld name="Titre et texte sur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2633" y="0"/>
            <a:ext cx="8613660" cy="847898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282633" y="1246909"/>
            <a:ext cx="8613660" cy="2326554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82633" y="3763052"/>
            <a:ext cx="8613660" cy="232821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1796231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r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0" y="0"/>
            <a:ext cx="7952787" cy="763011"/>
          </a:xfrm>
        </p:spPr>
        <p:txBody>
          <a:bodyPr anchor="ctr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8"/>
          <p:cNvSpPr>
            <a:spLocks noGrp="1" noChangeArrowheads="1"/>
          </p:cNvSpPr>
          <p:nvPr>
            <p:ph type="ftr" sz="quarter" idx="10"/>
          </p:nvPr>
        </p:nvSpPr>
        <p:spPr>
          <a:xfrm>
            <a:off x="5076825" y="6421212"/>
            <a:ext cx="2895600" cy="238125"/>
          </a:xfrm>
          <a:prstGeom prst="rect">
            <a:avLst/>
          </a:prstGeom>
          <a:ln/>
        </p:spPr>
        <p:txBody>
          <a:bodyPr anchor="ctr"/>
          <a:lstStyle>
            <a:lvl1pPr>
              <a:defRPr sz="1400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444492"/>
              </a:solidFill>
              <a:latin typeface="Arial"/>
            </a:endParaRPr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188958-8517-4D7A-AE47-DFA241C8D41C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618056" y="763010"/>
            <a:ext cx="7946636" cy="0"/>
            <a:chOff x="618056" y="1259571"/>
            <a:chExt cx="7946636" cy="0"/>
          </a:xfrm>
        </p:grpSpPr>
        <p:cxnSp>
          <p:nvCxnSpPr>
            <p:cNvPr id="7" name="Connecteur droit 6"/>
            <p:cNvCxnSpPr/>
            <p:nvPr userDrawn="1"/>
          </p:nvCxnSpPr>
          <p:spPr>
            <a:xfrm>
              <a:off x="618056" y="1259571"/>
              <a:ext cx="2670151" cy="0"/>
            </a:xfrm>
            <a:prstGeom prst="line">
              <a:avLst/>
            </a:prstGeom>
            <a:ln w="22225">
              <a:solidFill>
                <a:srgbClr val="BCA36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8"/>
            <p:cNvCxnSpPr/>
            <p:nvPr userDrawn="1"/>
          </p:nvCxnSpPr>
          <p:spPr>
            <a:xfrm>
              <a:off x="5900692" y="1259571"/>
              <a:ext cx="2664000" cy="0"/>
            </a:xfrm>
            <a:prstGeom prst="line">
              <a:avLst/>
            </a:prstGeom>
            <a:ln w="22225">
              <a:solidFill>
                <a:srgbClr val="AEB41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necteur droit 7"/>
            <p:cNvCxnSpPr/>
            <p:nvPr userDrawn="1"/>
          </p:nvCxnSpPr>
          <p:spPr>
            <a:xfrm>
              <a:off x="3279316" y="1259571"/>
              <a:ext cx="2628000" cy="0"/>
            </a:xfrm>
            <a:prstGeom prst="line">
              <a:avLst/>
            </a:prstGeom>
            <a:ln w="22225">
              <a:solidFill>
                <a:srgbClr val="34398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" name="Connecteur droit 11"/>
          <p:cNvCxnSpPr/>
          <p:nvPr userDrawn="1"/>
        </p:nvCxnSpPr>
        <p:spPr>
          <a:xfrm>
            <a:off x="636224" y="6237298"/>
            <a:ext cx="7920000" cy="0"/>
          </a:xfrm>
          <a:prstGeom prst="line">
            <a:avLst/>
          </a:prstGeom>
          <a:ln w="6350">
            <a:solidFill>
              <a:srgbClr val="2B2A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12775" y="6083300"/>
            <a:ext cx="7943850" cy="153988"/>
          </a:xfrm>
        </p:spPr>
        <p:txBody>
          <a:bodyPr anchor="b"/>
          <a:lstStyle>
            <a:lvl1pPr marL="90487" indent="0">
              <a:buNone/>
              <a:defRPr sz="800">
                <a:solidFill>
                  <a:srgbClr val="989898"/>
                </a:solidFill>
              </a:defRPr>
            </a:lvl1pPr>
            <a:lvl2pPr marL="457200" indent="0">
              <a:buNone/>
              <a:defRPr sz="800">
                <a:solidFill>
                  <a:srgbClr val="989898"/>
                </a:solidFill>
              </a:defRPr>
            </a:lvl2pPr>
            <a:lvl3pPr marL="914400" indent="0">
              <a:buNone/>
              <a:defRPr sz="800">
                <a:solidFill>
                  <a:srgbClr val="989898"/>
                </a:solidFill>
              </a:defRPr>
            </a:lvl3pPr>
            <a:lvl4pPr marL="1371600" indent="0">
              <a:buNone/>
              <a:defRPr sz="800">
                <a:solidFill>
                  <a:srgbClr val="989898"/>
                </a:solidFill>
              </a:defRPr>
            </a:lvl4pPr>
            <a:lvl5pPr marL="1828800" indent="0">
              <a:buNone/>
              <a:defRPr sz="800">
                <a:solidFill>
                  <a:srgbClr val="989898"/>
                </a:solidFill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31562318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070279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19124" y="455613"/>
            <a:ext cx="8407855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b" anchorCtr="0" compatLnSpc="1">
            <a:prstTxWarp prst="textNoShape">
              <a:avLst/>
            </a:prstTxWarp>
            <a:noAutofit/>
          </a:bodyPr>
          <a:lstStyle>
            <a:lvl1pPr>
              <a:defRPr sz="2400"/>
            </a:lvl1pPr>
          </a:lstStyle>
          <a:p>
            <a:pPr lvl="0"/>
            <a:r>
              <a:rPr lang="en-US" dirty="0"/>
              <a:t>Click to Enter Page Title</a:t>
            </a: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11188" y="1350963"/>
            <a:ext cx="7956000" cy="46008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600"/>
            </a:lvl1pPr>
            <a:lvl2pPr>
              <a:spcBef>
                <a:spcPts val="0"/>
              </a:spcBef>
              <a:defRPr sz="1600"/>
            </a:lvl2pPr>
            <a:lvl3pPr>
              <a:spcBef>
                <a:spcPts val="0"/>
              </a:spcBef>
              <a:defRPr sz="1600"/>
            </a:lvl3pPr>
            <a:lvl4pPr>
              <a:spcBef>
                <a:spcPts val="0"/>
              </a:spcBef>
              <a:defRPr sz="1600"/>
            </a:lvl4pPr>
            <a:lvl5pPr>
              <a:spcBef>
                <a:spcPts val="0"/>
              </a:spcBef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11188" y="6040540"/>
            <a:ext cx="7956000" cy="22263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760265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3" y="284163"/>
            <a:ext cx="7939087" cy="841375"/>
          </a:xfrm>
        </p:spPr>
        <p:txBody>
          <a:bodyPr/>
          <a:lstStyle/>
          <a:p>
            <a:r>
              <a:rPr lang="en-US" noProof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27063" y="1390650"/>
            <a:ext cx="7939087" cy="4248150"/>
          </a:xfrm>
        </p:spPr>
        <p:txBody>
          <a:bodyPr/>
          <a:lstStyle/>
          <a:p>
            <a:pPr lvl="0"/>
            <a:r>
              <a:rPr lang="en-US" noProof="0" dirty="0" err="1"/>
              <a:t>Modifiez</a:t>
            </a:r>
            <a:r>
              <a:rPr lang="en-US" noProof="0" dirty="0"/>
              <a:t>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Quatr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4"/>
            <a:r>
              <a:rPr lang="en-US" noProof="0" dirty="0" err="1"/>
              <a:t>Cinqu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0"/>
          </p:nvPr>
        </p:nvSpPr>
        <p:spPr>
          <a:xfrm>
            <a:off x="5203825" y="6427788"/>
            <a:ext cx="2895600" cy="238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444492"/>
                </a:solidFill>
              </a:rPr>
              <a:t>BD Asia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</a:t>
            </a:r>
            <a:r>
              <a:rPr lang="en-US" sz="900" baseline="16000" dirty="0"/>
              <a:t>         </a:t>
            </a:r>
            <a:fld id="{2055171F-CD83-4488-84E0-4CA1E5B3EB1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9469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A0C6CBA3-07E0-4E5A-9CBC-84DDD6F62137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5065585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7571" y="0"/>
            <a:ext cx="8545484" cy="841375"/>
          </a:xfrm>
        </p:spPr>
        <p:txBody>
          <a:bodyPr/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07571" y="1321723"/>
            <a:ext cx="4173942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6815" y="1321723"/>
            <a:ext cx="4206240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CA6D8E2-A421-439A-9542-C7671204AF4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620681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8" y="0"/>
            <a:ext cx="8537171" cy="84137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82E74FB-98A9-4760-AAB1-CA40FB5892D0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2091866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E535B98-BEBB-425D-BC8E-307821EDBAC0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7141394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age dégag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557213"/>
            <a:ext cx="9144000" cy="7318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96E64F78-AC8F-42E3-9C77-64ECDFE42C1E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4239513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>
  <p:cSld name="Titre et texte sur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2633" y="0"/>
            <a:ext cx="8613660" cy="847898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282633" y="1246909"/>
            <a:ext cx="8613660" cy="2326554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82633" y="3763052"/>
            <a:ext cx="8613660" cy="232821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1803449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9" y="0"/>
            <a:ext cx="8553796" cy="90011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299259" y="1350963"/>
            <a:ext cx="8553796" cy="4758892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0893185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9" y="0"/>
            <a:ext cx="8553796" cy="90011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299259" y="1350963"/>
            <a:ext cx="8553796" cy="4758892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8831232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9" descr="fond_150dpi_bleu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>
            <a:fillRect/>
          </a:stretch>
        </p:blipFill>
        <p:spPr bwMode="auto">
          <a:xfrm>
            <a:off x="0" y="0"/>
            <a:ext cx="9144000" cy="6275388"/>
          </a:xfrm>
          <a:prstGeom prst="rect">
            <a:avLst/>
          </a:prstGeom>
          <a:solidFill>
            <a:srgbClr val="45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8" y="2176463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u titr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es sous-titres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E7423CB-C39B-46B7-9A76-B744759BC04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478551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 userDrawn="1"/>
        </p:nvSpPr>
        <p:spPr bwMode="auto">
          <a:xfrm>
            <a:off x="0" y="0"/>
            <a:ext cx="9144000" cy="6318250"/>
          </a:xfrm>
          <a:prstGeom prst="rect">
            <a:avLst/>
          </a:prstGeom>
          <a:solidFill>
            <a:srgbClr val="44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4400" eaLnBrk="1" hangingPunct="1"/>
            <a:endParaRPr lang="en-US" dirty="0">
              <a:solidFill>
                <a:srgbClr val="444492"/>
              </a:solidFill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CA6FA23-9279-480B-970E-FA3CDB694608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9995276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r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0" y="0"/>
            <a:ext cx="7952787" cy="763011"/>
          </a:xfrm>
        </p:spPr>
        <p:txBody>
          <a:bodyPr anchor="ctr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8"/>
          <p:cNvSpPr>
            <a:spLocks noGrp="1" noChangeArrowheads="1"/>
          </p:cNvSpPr>
          <p:nvPr>
            <p:ph type="ftr" sz="quarter" idx="10"/>
          </p:nvPr>
        </p:nvSpPr>
        <p:spPr>
          <a:xfrm>
            <a:off x="5076825" y="6421212"/>
            <a:ext cx="2895600" cy="238125"/>
          </a:xfrm>
          <a:prstGeom prst="rect">
            <a:avLst/>
          </a:prstGeom>
          <a:ln/>
        </p:spPr>
        <p:txBody>
          <a:bodyPr anchor="ctr"/>
          <a:lstStyle>
            <a:lvl1pPr>
              <a:defRPr sz="1400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444492"/>
              </a:solidFill>
              <a:latin typeface="Arial"/>
            </a:endParaRPr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188958-8517-4D7A-AE47-DFA241C8D41C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618056" y="763010"/>
            <a:ext cx="7946636" cy="0"/>
            <a:chOff x="618056" y="1259571"/>
            <a:chExt cx="7946636" cy="0"/>
          </a:xfrm>
        </p:grpSpPr>
        <p:cxnSp>
          <p:nvCxnSpPr>
            <p:cNvPr id="7" name="Connecteur droit 6"/>
            <p:cNvCxnSpPr/>
            <p:nvPr userDrawn="1"/>
          </p:nvCxnSpPr>
          <p:spPr>
            <a:xfrm>
              <a:off x="618056" y="1259571"/>
              <a:ext cx="2670151" cy="0"/>
            </a:xfrm>
            <a:prstGeom prst="line">
              <a:avLst/>
            </a:prstGeom>
            <a:ln w="22225">
              <a:solidFill>
                <a:srgbClr val="BCA36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8"/>
            <p:cNvCxnSpPr/>
            <p:nvPr userDrawn="1"/>
          </p:nvCxnSpPr>
          <p:spPr>
            <a:xfrm>
              <a:off x="5900692" y="1259571"/>
              <a:ext cx="2664000" cy="0"/>
            </a:xfrm>
            <a:prstGeom prst="line">
              <a:avLst/>
            </a:prstGeom>
            <a:ln w="22225">
              <a:solidFill>
                <a:srgbClr val="AEB41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necteur droit 7"/>
            <p:cNvCxnSpPr/>
            <p:nvPr userDrawn="1"/>
          </p:nvCxnSpPr>
          <p:spPr>
            <a:xfrm>
              <a:off x="3279316" y="1259571"/>
              <a:ext cx="2628000" cy="0"/>
            </a:xfrm>
            <a:prstGeom prst="line">
              <a:avLst/>
            </a:prstGeom>
            <a:ln w="22225">
              <a:solidFill>
                <a:srgbClr val="34398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" name="Connecteur droit 11"/>
          <p:cNvCxnSpPr/>
          <p:nvPr userDrawn="1"/>
        </p:nvCxnSpPr>
        <p:spPr>
          <a:xfrm>
            <a:off x="636224" y="6237298"/>
            <a:ext cx="7920000" cy="0"/>
          </a:xfrm>
          <a:prstGeom prst="line">
            <a:avLst/>
          </a:prstGeom>
          <a:ln w="6350">
            <a:solidFill>
              <a:srgbClr val="2B2A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12775" y="6083300"/>
            <a:ext cx="7943850" cy="153988"/>
          </a:xfrm>
        </p:spPr>
        <p:txBody>
          <a:bodyPr anchor="b"/>
          <a:lstStyle>
            <a:lvl1pPr marL="90487" indent="0">
              <a:buNone/>
              <a:defRPr sz="800">
                <a:solidFill>
                  <a:srgbClr val="989898"/>
                </a:solidFill>
              </a:defRPr>
            </a:lvl1pPr>
            <a:lvl2pPr marL="457200" indent="0">
              <a:buNone/>
              <a:defRPr sz="800">
                <a:solidFill>
                  <a:srgbClr val="989898"/>
                </a:solidFill>
              </a:defRPr>
            </a:lvl2pPr>
            <a:lvl3pPr marL="914400" indent="0">
              <a:buNone/>
              <a:defRPr sz="800">
                <a:solidFill>
                  <a:srgbClr val="989898"/>
                </a:solidFill>
              </a:defRPr>
            </a:lvl3pPr>
            <a:lvl4pPr marL="1371600" indent="0">
              <a:buNone/>
              <a:defRPr sz="800">
                <a:solidFill>
                  <a:srgbClr val="989898"/>
                </a:solidFill>
              </a:defRPr>
            </a:lvl4pPr>
            <a:lvl5pPr marL="1828800" indent="0">
              <a:buNone/>
              <a:defRPr sz="800">
                <a:solidFill>
                  <a:srgbClr val="989898"/>
                </a:solidFill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08141667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229913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19124" y="455613"/>
            <a:ext cx="8407855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b" anchorCtr="0" compatLnSpc="1">
            <a:prstTxWarp prst="textNoShape">
              <a:avLst/>
            </a:prstTxWarp>
            <a:noAutofit/>
          </a:bodyPr>
          <a:lstStyle>
            <a:lvl1pPr>
              <a:defRPr sz="2400"/>
            </a:lvl1pPr>
          </a:lstStyle>
          <a:p>
            <a:pPr lvl="0"/>
            <a:r>
              <a:rPr lang="en-US" dirty="0"/>
              <a:t>Click to Enter Page Title</a:t>
            </a: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11188" y="1350963"/>
            <a:ext cx="7956000" cy="46008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600"/>
            </a:lvl1pPr>
            <a:lvl2pPr>
              <a:spcBef>
                <a:spcPts val="0"/>
              </a:spcBef>
              <a:defRPr sz="1600"/>
            </a:lvl2pPr>
            <a:lvl3pPr>
              <a:spcBef>
                <a:spcPts val="0"/>
              </a:spcBef>
              <a:defRPr sz="1600"/>
            </a:lvl3pPr>
            <a:lvl4pPr>
              <a:spcBef>
                <a:spcPts val="0"/>
              </a:spcBef>
              <a:defRPr sz="1600"/>
            </a:lvl4pPr>
            <a:lvl5pPr>
              <a:spcBef>
                <a:spcPts val="0"/>
              </a:spcBef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11188" y="6040540"/>
            <a:ext cx="7956000" cy="22263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944664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3" y="284163"/>
            <a:ext cx="7939087" cy="841375"/>
          </a:xfrm>
        </p:spPr>
        <p:txBody>
          <a:bodyPr/>
          <a:lstStyle/>
          <a:p>
            <a:r>
              <a:rPr lang="en-US" noProof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27063" y="1390650"/>
            <a:ext cx="7939087" cy="4248150"/>
          </a:xfrm>
        </p:spPr>
        <p:txBody>
          <a:bodyPr/>
          <a:lstStyle/>
          <a:p>
            <a:pPr lvl="0"/>
            <a:r>
              <a:rPr lang="en-US" noProof="0" dirty="0" err="1"/>
              <a:t>Modifiez</a:t>
            </a:r>
            <a:r>
              <a:rPr lang="en-US" noProof="0" dirty="0"/>
              <a:t> les styles du </a:t>
            </a:r>
            <a:r>
              <a:rPr lang="en-US" noProof="0" dirty="0" err="1"/>
              <a:t>texte</a:t>
            </a:r>
            <a:r>
              <a:rPr lang="en-US" noProof="0" dirty="0"/>
              <a:t> du masque</a:t>
            </a:r>
          </a:p>
          <a:p>
            <a:pPr lvl="1"/>
            <a:r>
              <a:rPr lang="en-US" noProof="0" dirty="0" err="1"/>
              <a:t>Deux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2"/>
            <a:r>
              <a:rPr lang="en-US" noProof="0" dirty="0" err="1"/>
              <a:t>Trois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3"/>
            <a:r>
              <a:rPr lang="en-US" noProof="0" dirty="0" err="1"/>
              <a:t>Quatr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  <a:p>
            <a:pPr lvl="4"/>
            <a:r>
              <a:rPr lang="en-US" noProof="0" dirty="0" err="1"/>
              <a:t>Cinquième</a:t>
            </a:r>
            <a:r>
              <a:rPr lang="en-US" noProof="0" dirty="0"/>
              <a:t> </a:t>
            </a:r>
            <a:r>
              <a:rPr lang="en-US" noProof="0" dirty="0" err="1"/>
              <a:t>niveau</a:t>
            </a:r>
            <a:endParaRPr lang="en-US" noProof="0" dirty="0"/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0"/>
          </p:nvPr>
        </p:nvSpPr>
        <p:spPr>
          <a:xfrm>
            <a:off x="5203825" y="6427788"/>
            <a:ext cx="2895600" cy="238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444492"/>
                </a:solidFill>
              </a:rPr>
              <a:t>BD Asia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</a:t>
            </a:r>
            <a:r>
              <a:rPr lang="en-US" sz="900" baseline="16000" dirty="0"/>
              <a:t>         </a:t>
            </a:r>
            <a:fld id="{2055171F-CD83-4488-84E0-4CA1E5B3EB1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0268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63887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A0C6CBA3-07E0-4E5A-9CBC-84DDD6F62137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88700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7571" y="0"/>
            <a:ext cx="8545484" cy="841375"/>
          </a:xfrm>
        </p:spPr>
        <p:txBody>
          <a:bodyPr/>
          <a:lstStyle>
            <a:lvl1pPr>
              <a:defRPr sz="24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07571" y="1321723"/>
            <a:ext cx="4173942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6815" y="1321723"/>
            <a:ext cx="4206240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CA6D8E2-A421-439A-9542-C7671204AF4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99903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8" y="0"/>
            <a:ext cx="8537171" cy="84137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82E74FB-98A9-4760-AAB1-CA40FB5892D0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20229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9" descr="fond_150dpi_bleu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>
            <a:fillRect/>
          </a:stretch>
        </p:blipFill>
        <p:spPr bwMode="auto">
          <a:xfrm>
            <a:off x="0" y="0"/>
            <a:ext cx="9144000" cy="6275388"/>
          </a:xfrm>
          <a:prstGeom prst="rect">
            <a:avLst/>
          </a:prstGeom>
          <a:solidFill>
            <a:srgbClr val="45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8" y="2176463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u titr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es sous-titres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E7423CB-C39B-46B7-9A76-B744759BC04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1735324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E535B98-BEBB-425D-BC8E-307821EDBAC0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79679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age dégag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557213"/>
            <a:ext cx="9144000" cy="7318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96E64F78-AC8F-42E3-9C77-64ECDFE42C1E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13331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>
  <p:cSld name="Titre et texte sur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2633" y="0"/>
            <a:ext cx="8613660" cy="847898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282633" y="1246909"/>
            <a:ext cx="8613660" cy="2326554"/>
          </a:xfrm>
        </p:spPr>
        <p:txBody>
          <a:bodyPr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82633" y="3763052"/>
            <a:ext cx="8613660" cy="2328215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smtClean="0"/>
              <a:t>|</a:t>
            </a:r>
            <a:r>
              <a:rPr lang="en-US" sz="900" baseline="16000" dirty="0" smtClean="0"/>
              <a:t>        </a:t>
            </a:r>
            <a:fld id="{C8A5DD0B-47B8-4FFF-85E0-6207ABAD9D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85882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9" y="0"/>
            <a:ext cx="8553796" cy="900113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299259" y="1350963"/>
            <a:ext cx="8553796" cy="4758892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smtClean="0"/>
              <a:t>|</a:t>
            </a:r>
            <a:r>
              <a:rPr lang="en-US" sz="900" baseline="16000" dirty="0" smtClean="0"/>
              <a:t>        </a:t>
            </a:r>
            <a:fld id="{C8A5DD0B-47B8-4FFF-85E0-6207ABAD9D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29980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9" descr="fond_150dpi_bleu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>
            <a:fillRect/>
          </a:stretch>
        </p:blipFill>
        <p:spPr bwMode="auto">
          <a:xfrm>
            <a:off x="0" y="0"/>
            <a:ext cx="9144000" cy="6275388"/>
          </a:xfrm>
          <a:prstGeom prst="rect">
            <a:avLst/>
          </a:prstGeom>
          <a:solidFill>
            <a:srgbClr val="45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8" y="2176463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quez pour modifier le style du titr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quez pour modifier le style des sous-titres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E7423CB-C39B-46B7-9A76-B744759BC04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96634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 userDrawn="1"/>
        </p:nvSpPr>
        <p:spPr bwMode="auto">
          <a:xfrm>
            <a:off x="0" y="0"/>
            <a:ext cx="9144000" cy="6318250"/>
          </a:xfrm>
          <a:prstGeom prst="rect">
            <a:avLst/>
          </a:prstGeom>
          <a:solidFill>
            <a:srgbClr val="44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4400" eaLnBrk="1" hangingPunct="1"/>
            <a:endParaRPr lang="en-US" dirty="0">
              <a:solidFill>
                <a:srgbClr val="444492"/>
              </a:solidFill>
              <a:latin typeface="Arial"/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CA6FA23-9279-480B-970E-FA3CDB694608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05723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r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0" y="0"/>
            <a:ext cx="7952787" cy="763011"/>
          </a:xfrm>
        </p:spPr>
        <p:txBody>
          <a:bodyPr anchor="ctr"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28"/>
          <p:cNvSpPr>
            <a:spLocks noGrp="1" noChangeArrowheads="1"/>
          </p:cNvSpPr>
          <p:nvPr>
            <p:ph type="ftr" sz="quarter" idx="10"/>
          </p:nvPr>
        </p:nvSpPr>
        <p:spPr>
          <a:xfrm>
            <a:off x="5076825" y="6421212"/>
            <a:ext cx="2895600" cy="238125"/>
          </a:xfrm>
          <a:prstGeom prst="rect">
            <a:avLst/>
          </a:prstGeom>
          <a:ln/>
        </p:spPr>
        <p:txBody>
          <a:bodyPr anchor="ctr"/>
          <a:lstStyle>
            <a:lvl1pPr>
              <a:defRPr sz="1400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444492"/>
              </a:solidFill>
              <a:latin typeface="Arial"/>
            </a:endParaRPr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188958-8517-4D7A-AE47-DFA241C8D41C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618056" y="763010"/>
            <a:ext cx="7946636" cy="0"/>
            <a:chOff x="618056" y="1259571"/>
            <a:chExt cx="7946636" cy="0"/>
          </a:xfrm>
        </p:grpSpPr>
        <p:cxnSp>
          <p:nvCxnSpPr>
            <p:cNvPr id="7" name="Connecteur droit 6"/>
            <p:cNvCxnSpPr/>
            <p:nvPr userDrawn="1"/>
          </p:nvCxnSpPr>
          <p:spPr>
            <a:xfrm>
              <a:off x="618056" y="1259571"/>
              <a:ext cx="2670151" cy="0"/>
            </a:xfrm>
            <a:prstGeom prst="line">
              <a:avLst/>
            </a:prstGeom>
            <a:ln w="22225">
              <a:solidFill>
                <a:srgbClr val="BCA36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8"/>
            <p:cNvCxnSpPr/>
            <p:nvPr userDrawn="1"/>
          </p:nvCxnSpPr>
          <p:spPr>
            <a:xfrm>
              <a:off x="5900692" y="1259571"/>
              <a:ext cx="2664000" cy="0"/>
            </a:xfrm>
            <a:prstGeom prst="line">
              <a:avLst/>
            </a:prstGeom>
            <a:ln w="22225">
              <a:solidFill>
                <a:srgbClr val="AEB41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necteur droit 7"/>
            <p:cNvCxnSpPr/>
            <p:nvPr userDrawn="1"/>
          </p:nvCxnSpPr>
          <p:spPr>
            <a:xfrm>
              <a:off x="3279316" y="1259571"/>
              <a:ext cx="2628000" cy="0"/>
            </a:xfrm>
            <a:prstGeom prst="line">
              <a:avLst/>
            </a:prstGeom>
            <a:ln w="22225">
              <a:solidFill>
                <a:srgbClr val="34398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" name="Connecteur droit 11"/>
          <p:cNvCxnSpPr/>
          <p:nvPr userDrawn="1"/>
        </p:nvCxnSpPr>
        <p:spPr>
          <a:xfrm>
            <a:off x="636224" y="6237298"/>
            <a:ext cx="7920000" cy="0"/>
          </a:xfrm>
          <a:prstGeom prst="line">
            <a:avLst/>
          </a:prstGeom>
          <a:ln w="6350">
            <a:solidFill>
              <a:srgbClr val="2B2A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12775" y="6083300"/>
            <a:ext cx="7943850" cy="153988"/>
          </a:xfrm>
        </p:spPr>
        <p:txBody>
          <a:bodyPr anchor="b"/>
          <a:lstStyle>
            <a:lvl1pPr marL="90487" indent="0">
              <a:buNone/>
              <a:defRPr sz="800">
                <a:solidFill>
                  <a:srgbClr val="989898"/>
                </a:solidFill>
              </a:defRPr>
            </a:lvl1pPr>
            <a:lvl2pPr marL="457200" indent="0">
              <a:buNone/>
              <a:defRPr sz="800">
                <a:solidFill>
                  <a:srgbClr val="989898"/>
                </a:solidFill>
              </a:defRPr>
            </a:lvl2pPr>
            <a:lvl3pPr marL="914400" indent="0">
              <a:buNone/>
              <a:defRPr sz="800">
                <a:solidFill>
                  <a:srgbClr val="989898"/>
                </a:solidFill>
              </a:defRPr>
            </a:lvl3pPr>
            <a:lvl4pPr marL="1371600" indent="0">
              <a:buNone/>
              <a:defRPr sz="800">
                <a:solidFill>
                  <a:srgbClr val="989898"/>
                </a:solidFill>
              </a:defRPr>
            </a:lvl4pPr>
            <a:lvl5pPr marL="1828800" indent="0">
              <a:buNone/>
              <a:defRPr sz="800">
                <a:solidFill>
                  <a:srgbClr val="989898"/>
                </a:solidFill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80089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19124" y="455613"/>
            <a:ext cx="8407855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b" anchorCtr="0" compatLnSpc="1">
            <a:prstTxWarp prst="textNoShape">
              <a:avLst/>
            </a:prstTxWarp>
            <a:noAutofit/>
          </a:bodyPr>
          <a:lstStyle>
            <a:lvl1pPr>
              <a:defRPr sz="2400"/>
            </a:lvl1pPr>
          </a:lstStyle>
          <a:p>
            <a:pPr lvl="0"/>
            <a:r>
              <a:rPr lang="en-US" dirty="0" smtClean="0"/>
              <a:t>Click to Enter Page Title</a:t>
            </a: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11188" y="1350963"/>
            <a:ext cx="7956000" cy="460080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600"/>
            </a:lvl1pPr>
            <a:lvl2pPr>
              <a:spcBef>
                <a:spcPts val="0"/>
              </a:spcBef>
              <a:defRPr sz="1600"/>
            </a:lvl2pPr>
            <a:lvl3pPr>
              <a:spcBef>
                <a:spcPts val="0"/>
              </a:spcBef>
              <a:defRPr sz="1600"/>
            </a:lvl3pPr>
            <a:lvl4pPr>
              <a:spcBef>
                <a:spcPts val="0"/>
              </a:spcBef>
              <a:defRPr sz="1600"/>
            </a:lvl4pPr>
            <a:lvl5pPr>
              <a:spcBef>
                <a:spcPts val="0"/>
              </a:spcBef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11188" y="6040540"/>
            <a:ext cx="7956000" cy="22263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33896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slide_couran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7063" y="284163"/>
            <a:ext cx="7939087" cy="841375"/>
          </a:xfrm>
        </p:spPr>
        <p:txBody>
          <a:bodyPr/>
          <a:lstStyle/>
          <a:p>
            <a:r>
              <a:rPr lang="en-US" noProof="0" smtClean="0"/>
              <a:t>Modifiez le style du titre</a:t>
            </a:r>
            <a:endParaRPr lang="en-US" noProof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27063" y="1390650"/>
            <a:ext cx="7939087" cy="4248150"/>
          </a:xfrm>
        </p:spPr>
        <p:txBody>
          <a:bodyPr/>
          <a:lstStyle/>
          <a:p>
            <a:pPr lvl="0"/>
            <a:r>
              <a:rPr lang="en-US" noProof="0" dirty="0" err="1" smtClean="0"/>
              <a:t>Modifiez</a:t>
            </a:r>
            <a:r>
              <a:rPr lang="en-US" noProof="0" dirty="0" smtClean="0"/>
              <a:t>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Quatr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Cinqu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/>
          </a:p>
        </p:txBody>
      </p:sp>
      <p:sp>
        <p:nvSpPr>
          <p:cNvPr id="4" name="Rectangle 28"/>
          <p:cNvSpPr>
            <a:spLocks noGrp="1" noChangeArrowheads="1"/>
          </p:cNvSpPr>
          <p:nvPr>
            <p:ph type="ftr" sz="quarter" idx="10"/>
          </p:nvPr>
        </p:nvSpPr>
        <p:spPr>
          <a:xfrm>
            <a:off x="5203825" y="6427788"/>
            <a:ext cx="2895600" cy="238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srgbClr val="444492"/>
                </a:solidFill>
                <a:latin typeface="Arial"/>
              </a:rPr>
              <a:t>BD Asia</a:t>
            </a:r>
            <a:endParaRPr lang="en-US" dirty="0">
              <a:solidFill>
                <a:srgbClr val="444492"/>
              </a:solidFill>
              <a:latin typeface="Arial"/>
            </a:endParaRP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</a:t>
            </a:r>
            <a:r>
              <a:rPr lang="en-US" sz="900" baseline="16000" dirty="0"/>
              <a:t>         </a:t>
            </a:r>
            <a:fld id="{2055171F-CD83-4488-84E0-4CA1E5B3EB1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4405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re et contenu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6064700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216" name="think-cell Slide" r:id="rId5" imgW="499" imgH="499" progId="TCLayout.ActiveDocument.1">
                  <p:embed/>
                </p:oleObj>
              </mc:Choice>
              <mc:Fallback>
                <p:oleObj name="think-cell Slide" r:id="rId5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rme libre : forme 18"/>
          <p:cNvSpPr>
            <a:spLocks/>
          </p:cNvSpPr>
          <p:nvPr userDrawn="1"/>
        </p:nvSpPr>
        <p:spPr bwMode="auto">
          <a:xfrm>
            <a:off x="939869" y="381188"/>
            <a:ext cx="5792373" cy="838200"/>
          </a:xfrm>
          <a:custGeom>
            <a:avLst/>
            <a:gdLst>
              <a:gd name="connsiteX0" fmla="*/ 307975 w 5792373"/>
              <a:gd name="connsiteY0" fmla="*/ 0 h 628650"/>
              <a:gd name="connsiteX1" fmla="*/ 5792373 w 5792373"/>
              <a:gd name="connsiteY1" fmla="*/ 0 h 628650"/>
              <a:gd name="connsiteX2" fmla="*/ 5792373 w 5792373"/>
              <a:gd name="connsiteY2" fmla="*/ 628650 h 628650"/>
              <a:gd name="connsiteX3" fmla="*/ 0 w 5792373"/>
              <a:gd name="connsiteY3" fmla="*/ 628650 h 628650"/>
              <a:gd name="connsiteX4" fmla="*/ 69850 w 5792373"/>
              <a:gd name="connsiteY4" fmla="*/ 466725 h 628650"/>
              <a:gd name="connsiteX5" fmla="*/ 142875 w 5792373"/>
              <a:gd name="connsiteY5" fmla="*/ 307975 h 628650"/>
              <a:gd name="connsiteX6" fmla="*/ 222250 w 5792373"/>
              <a:gd name="connsiteY6" fmla="*/ 152400 h 628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92373" h="628650">
                <a:moveTo>
                  <a:pt x="307975" y="0"/>
                </a:moveTo>
                <a:lnTo>
                  <a:pt x="5792373" y="0"/>
                </a:lnTo>
                <a:lnTo>
                  <a:pt x="5792373" y="628650"/>
                </a:lnTo>
                <a:lnTo>
                  <a:pt x="0" y="628650"/>
                </a:lnTo>
                <a:lnTo>
                  <a:pt x="69850" y="466725"/>
                </a:lnTo>
                <a:lnTo>
                  <a:pt x="142875" y="307975"/>
                </a:lnTo>
                <a:lnTo>
                  <a:pt x="222250" y="152400"/>
                </a:lnTo>
                <a:close/>
              </a:path>
            </a:pathLst>
          </a:custGeom>
          <a:solidFill>
            <a:srgbClr val="CFB28B">
              <a:alpha val="8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444492"/>
              </a:solidFill>
              <a:latin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259633" y="356658"/>
            <a:ext cx="5472609" cy="864097"/>
          </a:xfrm>
        </p:spPr>
        <p:txBody>
          <a:bodyPr/>
          <a:lstStyle>
            <a:lvl1pPr algn="l">
              <a:defRPr cap="all" baseline="0"/>
            </a:lvl1pPr>
          </a:lstStyle>
          <a:p>
            <a:r>
              <a:rPr lang="en-US" dirty="0" smtClean="0"/>
              <a:t>MODIFIEZ LE STYLE DU TITRE</a:t>
            </a:r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3784BD-AEF4-4952-A313-2EBF09C498B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980"/>
          <a:stretch/>
        </p:blipFill>
        <p:spPr>
          <a:xfrm>
            <a:off x="7054955" y="284649"/>
            <a:ext cx="1722290" cy="1008112"/>
          </a:xfrm>
          <a:prstGeom prst="rect">
            <a:avLst/>
          </a:prstGeom>
        </p:spPr>
      </p:pic>
      <p:pic>
        <p:nvPicPr>
          <p:cNvPr id="9" name="Image 3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9574" y="6173081"/>
            <a:ext cx="564852" cy="642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1541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 userDrawn="1"/>
        </p:nvSpPr>
        <p:spPr bwMode="auto">
          <a:xfrm>
            <a:off x="0" y="0"/>
            <a:ext cx="9144000" cy="6318250"/>
          </a:xfrm>
          <a:prstGeom prst="rect">
            <a:avLst/>
          </a:prstGeom>
          <a:solidFill>
            <a:srgbClr val="44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4400" eaLnBrk="1" hangingPunct="1"/>
            <a:endParaRPr lang="en-US" dirty="0">
              <a:solidFill>
                <a:srgbClr val="444492"/>
              </a:solidFill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CA6FA23-9279-480B-970E-FA3CDB694608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6041629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57994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6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A0C6CBA3-07E0-4E5A-9CBC-84DDD6F62137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6552870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7571" y="0"/>
            <a:ext cx="8545484" cy="841375"/>
          </a:xfrm>
        </p:spPr>
        <p:txBody>
          <a:bodyPr/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07571" y="1321723"/>
            <a:ext cx="4173942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6815" y="1321723"/>
            <a:ext cx="4206240" cy="479644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CA6D8E2-A421-439A-9542-C7671204AF4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2041966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8" y="0"/>
            <a:ext cx="8537171" cy="84137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82E74FB-98A9-4760-AAB1-CA40FB5892D0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8891830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1E535B98-BEBB-425D-BC8E-307821EDBAC0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5780861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age dégag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557213"/>
            <a:ext cx="9144000" cy="7318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96E64F78-AC8F-42E3-9C77-64ECDFE42C1E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4665925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>
  <p:cSld name="Titre et texte sur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2633" y="0"/>
            <a:ext cx="8613660" cy="847898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282633" y="1246909"/>
            <a:ext cx="8613660" cy="2326554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82633" y="3763052"/>
            <a:ext cx="8613660" cy="232821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2282643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99259" y="0"/>
            <a:ext cx="8553796" cy="90011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299259" y="1350963"/>
            <a:ext cx="8553796" cy="4758892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1895379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9" descr="fond_150dpi_bleu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>
            <a:fillRect/>
          </a:stretch>
        </p:blipFill>
        <p:spPr bwMode="auto">
          <a:xfrm>
            <a:off x="0" y="0"/>
            <a:ext cx="9144000" cy="6275388"/>
          </a:xfrm>
          <a:prstGeom prst="rect">
            <a:avLst/>
          </a:prstGeom>
          <a:solidFill>
            <a:srgbClr val="45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335088" y="2176463"/>
            <a:ext cx="6461125" cy="1470025"/>
          </a:xfrm>
        </p:spPr>
        <p:txBody>
          <a:bodyPr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u titre</a:t>
            </a:r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47788" y="4100513"/>
            <a:ext cx="6400800" cy="1752600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quez pour modifier le style des sous-titres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E7423CB-C39B-46B7-9A76-B744759BC04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4250853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ChangeArrowheads="1"/>
          </p:cNvSpPr>
          <p:nvPr userDrawn="1"/>
        </p:nvSpPr>
        <p:spPr bwMode="auto">
          <a:xfrm>
            <a:off x="0" y="0"/>
            <a:ext cx="9144000" cy="6318250"/>
          </a:xfrm>
          <a:prstGeom prst="rect">
            <a:avLst/>
          </a:prstGeom>
          <a:solidFill>
            <a:srgbClr val="44449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4400" eaLnBrk="1" hangingPunct="1"/>
            <a:endParaRPr lang="en-US" dirty="0">
              <a:solidFill>
                <a:srgbClr val="444492"/>
              </a:solidFill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457200">
              <a:defRPr/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CA6FA23-9279-480B-970E-FA3CDB694608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2684770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r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000" y="0"/>
            <a:ext cx="7952787" cy="763011"/>
          </a:xfrm>
        </p:spPr>
        <p:txBody>
          <a:bodyPr anchor="ctr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8"/>
          <p:cNvSpPr>
            <a:spLocks noGrp="1" noChangeArrowheads="1"/>
          </p:cNvSpPr>
          <p:nvPr>
            <p:ph type="ftr" sz="quarter" idx="10"/>
          </p:nvPr>
        </p:nvSpPr>
        <p:spPr>
          <a:xfrm>
            <a:off x="5076825" y="6421212"/>
            <a:ext cx="2895600" cy="238125"/>
          </a:xfrm>
          <a:prstGeom prst="rect">
            <a:avLst/>
          </a:prstGeom>
          <a:ln/>
        </p:spPr>
        <p:txBody>
          <a:bodyPr anchor="ctr"/>
          <a:lstStyle>
            <a:lvl1pPr>
              <a:defRPr sz="1400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444492"/>
              </a:solidFill>
              <a:latin typeface="Arial"/>
            </a:endParaRPr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188958-8517-4D7A-AE47-DFA241C8D41C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618056" y="763010"/>
            <a:ext cx="7946636" cy="0"/>
            <a:chOff x="618056" y="1259571"/>
            <a:chExt cx="7946636" cy="0"/>
          </a:xfrm>
        </p:grpSpPr>
        <p:cxnSp>
          <p:nvCxnSpPr>
            <p:cNvPr id="7" name="Connecteur droit 6"/>
            <p:cNvCxnSpPr/>
            <p:nvPr userDrawn="1"/>
          </p:nvCxnSpPr>
          <p:spPr>
            <a:xfrm>
              <a:off x="618056" y="1259571"/>
              <a:ext cx="2670151" cy="0"/>
            </a:xfrm>
            <a:prstGeom prst="line">
              <a:avLst/>
            </a:prstGeom>
            <a:ln w="22225">
              <a:solidFill>
                <a:srgbClr val="BCA36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Connecteur droit 8"/>
            <p:cNvCxnSpPr/>
            <p:nvPr userDrawn="1"/>
          </p:nvCxnSpPr>
          <p:spPr>
            <a:xfrm>
              <a:off x="5900692" y="1259571"/>
              <a:ext cx="2664000" cy="0"/>
            </a:xfrm>
            <a:prstGeom prst="line">
              <a:avLst/>
            </a:prstGeom>
            <a:ln w="22225">
              <a:solidFill>
                <a:srgbClr val="AEB41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Connecteur droit 7"/>
            <p:cNvCxnSpPr/>
            <p:nvPr userDrawn="1"/>
          </p:nvCxnSpPr>
          <p:spPr>
            <a:xfrm>
              <a:off x="3279316" y="1259571"/>
              <a:ext cx="2628000" cy="0"/>
            </a:xfrm>
            <a:prstGeom prst="line">
              <a:avLst/>
            </a:prstGeom>
            <a:ln w="22225">
              <a:solidFill>
                <a:srgbClr val="34398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" name="Connecteur droit 11"/>
          <p:cNvCxnSpPr/>
          <p:nvPr userDrawn="1"/>
        </p:nvCxnSpPr>
        <p:spPr>
          <a:xfrm>
            <a:off x="636224" y="6237298"/>
            <a:ext cx="7920000" cy="0"/>
          </a:xfrm>
          <a:prstGeom prst="line">
            <a:avLst/>
          </a:prstGeom>
          <a:ln w="6350">
            <a:solidFill>
              <a:srgbClr val="2B2A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612775" y="6083300"/>
            <a:ext cx="7943850" cy="153988"/>
          </a:xfrm>
        </p:spPr>
        <p:txBody>
          <a:bodyPr anchor="b"/>
          <a:lstStyle>
            <a:lvl1pPr marL="90487" indent="0">
              <a:buNone/>
              <a:defRPr sz="800">
                <a:solidFill>
                  <a:srgbClr val="989898"/>
                </a:solidFill>
              </a:defRPr>
            </a:lvl1pPr>
            <a:lvl2pPr marL="457200" indent="0">
              <a:buNone/>
              <a:defRPr sz="800">
                <a:solidFill>
                  <a:srgbClr val="989898"/>
                </a:solidFill>
              </a:defRPr>
            </a:lvl2pPr>
            <a:lvl3pPr marL="914400" indent="0">
              <a:buNone/>
              <a:defRPr sz="800">
                <a:solidFill>
                  <a:srgbClr val="989898"/>
                </a:solidFill>
              </a:defRPr>
            </a:lvl3pPr>
            <a:lvl4pPr marL="1371600" indent="0">
              <a:buNone/>
              <a:defRPr sz="800">
                <a:solidFill>
                  <a:srgbClr val="989898"/>
                </a:solidFill>
              </a:defRPr>
            </a:lvl4pPr>
            <a:lvl5pPr marL="1828800" indent="0">
              <a:buNone/>
              <a:defRPr sz="800">
                <a:solidFill>
                  <a:srgbClr val="989898"/>
                </a:solidFill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742369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.xml"/><Relationship Id="rId13" Type="http://schemas.openxmlformats.org/officeDocument/2006/relationships/theme" Target="../theme/theme10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118.xml"/><Relationship Id="rId7" Type="http://schemas.openxmlformats.org/officeDocument/2006/relationships/slideLayout" Target="../slideLayouts/slideLayout122.xml"/><Relationship Id="rId12" Type="http://schemas.openxmlformats.org/officeDocument/2006/relationships/slideLayout" Target="../slideLayouts/slideLayout127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17.xml"/><Relationship Id="rId16" Type="http://schemas.openxmlformats.org/officeDocument/2006/relationships/oleObject" Target="../embeddings/oleObject19.bin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126.xml"/><Relationship Id="rId5" Type="http://schemas.openxmlformats.org/officeDocument/2006/relationships/slideLayout" Target="../slideLayouts/slideLayout120.xml"/><Relationship Id="rId15" Type="http://schemas.openxmlformats.org/officeDocument/2006/relationships/tags" Target="../tags/tag20.xml"/><Relationship Id="rId10" Type="http://schemas.openxmlformats.org/officeDocument/2006/relationships/slideLayout" Target="../slideLayouts/slideLayout125.xml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Relationship Id="rId14" Type="http://schemas.openxmlformats.org/officeDocument/2006/relationships/vmlDrawing" Target="../drawings/vmlDrawing19.v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.xml"/><Relationship Id="rId13" Type="http://schemas.openxmlformats.org/officeDocument/2006/relationships/slideLayout" Target="../slideLayouts/slideLayout140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30.xml"/><Relationship Id="rId7" Type="http://schemas.openxmlformats.org/officeDocument/2006/relationships/slideLayout" Target="../slideLayouts/slideLayout134.xml"/><Relationship Id="rId12" Type="http://schemas.openxmlformats.org/officeDocument/2006/relationships/slideLayout" Target="../slideLayouts/slideLayout139.xml"/><Relationship Id="rId17" Type="http://schemas.openxmlformats.org/officeDocument/2006/relationships/oleObject" Target="../embeddings/oleObject21.bin"/><Relationship Id="rId2" Type="http://schemas.openxmlformats.org/officeDocument/2006/relationships/slideLayout" Target="../slideLayouts/slideLayout129.xml"/><Relationship Id="rId16" Type="http://schemas.openxmlformats.org/officeDocument/2006/relationships/tags" Target="../tags/tag22.xml"/><Relationship Id="rId1" Type="http://schemas.openxmlformats.org/officeDocument/2006/relationships/slideLayout" Target="../slideLayouts/slideLayout128.xml"/><Relationship Id="rId6" Type="http://schemas.openxmlformats.org/officeDocument/2006/relationships/slideLayout" Target="../slideLayouts/slideLayout133.xml"/><Relationship Id="rId11" Type="http://schemas.openxmlformats.org/officeDocument/2006/relationships/slideLayout" Target="../slideLayouts/slideLayout138.xml"/><Relationship Id="rId5" Type="http://schemas.openxmlformats.org/officeDocument/2006/relationships/slideLayout" Target="../slideLayouts/slideLayout132.xml"/><Relationship Id="rId15" Type="http://schemas.openxmlformats.org/officeDocument/2006/relationships/vmlDrawing" Target="../drawings/vmlDrawing21.vml"/><Relationship Id="rId10" Type="http://schemas.openxmlformats.org/officeDocument/2006/relationships/slideLayout" Target="../slideLayouts/slideLayout137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131.xml"/><Relationship Id="rId9" Type="http://schemas.openxmlformats.org/officeDocument/2006/relationships/slideLayout" Target="../slideLayouts/slideLayout136.xml"/><Relationship Id="rId14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8.xml"/><Relationship Id="rId13" Type="http://schemas.openxmlformats.org/officeDocument/2006/relationships/image" Target="../media/image13.jpeg"/><Relationship Id="rId3" Type="http://schemas.openxmlformats.org/officeDocument/2006/relationships/slideLayout" Target="../slideLayouts/slideLayout143.xml"/><Relationship Id="rId7" Type="http://schemas.openxmlformats.org/officeDocument/2006/relationships/slideLayout" Target="../slideLayouts/slideLayout147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42.xml"/><Relationship Id="rId1" Type="http://schemas.openxmlformats.org/officeDocument/2006/relationships/slideLayout" Target="../slideLayouts/slideLayout141.xml"/><Relationship Id="rId6" Type="http://schemas.openxmlformats.org/officeDocument/2006/relationships/slideLayout" Target="../slideLayouts/slideLayout146.xml"/><Relationship Id="rId11" Type="http://schemas.openxmlformats.org/officeDocument/2006/relationships/slideLayout" Target="../slideLayouts/slideLayout151.xml"/><Relationship Id="rId5" Type="http://schemas.openxmlformats.org/officeDocument/2006/relationships/slideLayout" Target="../slideLayouts/slideLayout145.xml"/><Relationship Id="rId10" Type="http://schemas.openxmlformats.org/officeDocument/2006/relationships/slideLayout" Target="../slideLayouts/slideLayout150.xml"/><Relationship Id="rId4" Type="http://schemas.openxmlformats.org/officeDocument/2006/relationships/slideLayout" Target="../slideLayouts/slideLayout144.xml"/><Relationship Id="rId9" Type="http://schemas.openxmlformats.org/officeDocument/2006/relationships/slideLayout" Target="../slideLayouts/slideLayout149.xml"/><Relationship Id="rId14" Type="http://schemas.openxmlformats.org/officeDocument/2006/relationships/image" Target="../media/image14.pn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9.xml"/><Relationship Id="rId13" Type="http://schemas.openxmlformats.org/officeDocument/2006/relationships/theme" Target="../theme/theme13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154.xml"/><Relationship Id="rId7" Type="http://schemas.openxmlformats.org/officeDocument/2006/relationships/slideLayout" Target="../slideLayouts/slideLayout158.xml"/><Relationship Id="rId12" Type="http://schemas.openxmlformats.org/officeDocument/2006/relationships/slideLayout" Target="../slideLayouts/slideLayout16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53.xml"/><Relationship Id="rId16" Type="http://schemas.openxmlformats.org/officeDocument/2006/relationships/oleObject" Target="../embeddings/oleObject24.bin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slideLayout" Target="../slideLayouts/slideLayout162.xml"/><Relationship Id="rId5" Type="http://schemas.openxmlformats.org/officeDocument/2006/relationships/slideLayout" Target="../slideLayouts/slideLayout156.xml"/><Relationship Id="rId15" Type="http://schemas.openxmlformats.org/officeDocument/2006/relationships/tags" Target="../tags/tag25.xml"/><Relationship Id="rId10" Type="http://schemas.openxmlformats.org/officeDocument/2006/relationships/slideLayout" Target="../slideLayouts/slideLayout161.xml"/><Relationship Id="rId4" Type="http://schemas.openxmlformats.org/officeDocument/2006/relationships/slideLayout" Target="../slideLayouts/slideLayout155.xml"/><Relationship Id="rId9" Type="http://schemas.openxmlformats.org/officeDocument/2006/relationships/slideLayout" Target="../slideLayouts/slideLayout160.xml"/><Relationship Id="rId14" Type="http://schemas.openxmlformats.org/officeDocument/2006/relationships/vmlDrawing" Target="../drawings/vmlDrawing24.v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1.xml"/><Relationship Id="rId13" Type="http://schemas.openxmlformats.org/officeDocument/2006/relationships/vmlDrawing" Target="../drawings/vmlDrawing27.vml"/><Relationship Id="rId18" Type="http://schemas.openxmlformats.org/officeDocument/2006/relationships/image" Target="../media/image17.png"/><Relationship Id="rId3" Type="http://schemas.openxmlformats.org/officeDocument/2006/relationships/slideLayout" Target="../slideLayouts/slideLayout166.xml"/><Relationship Id="rId7" Type="http://schemas.openxmlformats.org/officeDocument/2006/relationships/slideLayout" Target="../slideLayouts/slideLayout170.xml"/><Relationship Id="rId12" Type="http://schemas.openxmlformats.org/officeDocument/2006/relationships/theme" Target="../theme/theme14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165.xml"/><Relationship Id="rId16" Type="http://schemas.openxmlformats.org/officeDocument/2006/relationships/oleObject" Target="../embeddings/oleObject27.bin"/><Relationship Id="rId1" Type="http://schemas.openxmlformats.org/officeDocument/2006/relationships/slideLayout" Target="../slideLayouts/slideLayout164.xml"/><Relationship Id="rId6" Type="http://schemas.openxmlformats.org/officeDocument/2006/relationships/slideLayout" Target="../slideLayouts/slideLayout169.xml"/><Relationship Id="rId11" Type="http://schemas.openxmlformats.org/officeDocument/2006/relationships/slideLayout" Target="../slideLayouts/slideLayout174.xml"/><Relationship Id="rId5" Type="http://schemas.openxmlformats.org/officeDocument/2006/relationships/slideLayout" Target="../slideLayouts/slideLayout168.xml"/><Relationship Id="rId15" Type="http://schemas.openxmlformats.org/officeDocument/2006/relationships/image" Target="../media/image13.jpeg"/><Relationship Id="rId10" Type="http://schemas.openxmlformats.org/officeDocument/2006/relationships/slideLayout" Target="../slideLayouts/slideLayout173.xml"/><Relationship Id="rId4" Type="http://schemas.openxmlformats.org/officeDocument/2006/relationships/slideLayout" Target="../slideLayouts/slideLayout167.xml"/><Relationship Id="rId9" Type="http://schemas.openxmlformats.org/officeDocument/2006/relationships/slideLayout" Target="../slideLayouts/slideLayout172.xml"/><Relationship Id="rId14" Type="http://schemas.openxmlformats.org/officeDocument/2006/relationships/tags" Target="../tags/tag28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2.xml"/><Relationship Id="rId13" Type="http://schemas.openxmlformats.org/officeDocument/2006/relationships/vmlDrawing" Target="../drawings/vmlDrawing29.vml"/><Relationship Id="rId18" Type="http://schemas.openxmlformats.org/officeDocument/2006/relationships/image" Target="../media/image17.png"/><Relationship Id="rId3" Type="http://schemas.openxmlformats.org/officeDocument/2006/relationships/slideLayout" Target="../slideLayouts/slideLayout177.xml"/><Relationship Id="rId7" Type="http://schemas.openxmlformats.org/officeDocument/2006/relationships/slideLayout" Target="../slideLayouts/slideLayout181.xml"/><Relationship Id="rId12" Type="http://schemas.openxmlformats.org/officeDocument/2006/relationships/theme" Target="../theme/theme15.xml"/><Relationship Id="rId17" Type="http://schemas.openxmlformats.org/officeDocument/2006/relationships/image" Target="../media/image19.emf"/><Relationship Id="rId2" Type="http://schemas.openxmlformats.org/officeDocument/2006/relationships/slideLayout" Target="../slideLayouts/slideLayout176.xml"/><Relationship Id="rId16" Type="http://schemas.openxmlformats.org/officeDocument/2006/relationships/oleObject" Target="../embeddings/oleObject29.bin"/><Relationship Id="rId1" Type="http://schemas.openxmlformats.org/officeDocument/2006/relationships/slideLayout" Target="../slideLayouts/slideLayout175.xml"/><Relationship Id="rId6" Type="http://schemas.openxmlformats.org/officeDocument/2006/relationships/slideLayout" Target="../slideLayouts/slideLayout180.xml"/><Relationship Id="rId11" Type="http://schemas.openxmlformats.org/officeDocument/2006/relationships/slideLayout" Target="../slideLayouts/slideLayout185.xml"/><Relationship Id="rId5" Type="http://schemas.openxmlformats.org/officeDocument/2006/relationships/slideLayout" Target="../slideLayouts/slideLayout179.xml"/><Relationship Id="rId15" Type="http://schemas.openxmlformats.org/officeDocument/2006/relationships/image" Target="../media/image13.jpeg"/><Relationship Id="rId10" Type="http://schemas.openxmlformats.org/officeDocument/2006/relationships/slideLayout" Target="../slideLayouts/slideLayout184.xml"/><Relationship Id="rId4" Type="http://schemas.openxmlformats.org/officeDocument/2006/relationships/slideLayout" Target="../slideLayouts/slideLayout178.xml"/><Relationship Id="rId9" Type="http://schemas.openxmlformats.org/officeDocument/2006/relationships/slideLayout" Target="../slideLayouts/slideLayout183.xml"/><Relationship Id="rId14" Type="http://schemas.openxmlformats.org/officeDocument/2006/relationships/tags" Target="../tags/tag30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3.xml"/><Relationship Id="rId13" Type="http://schemas.openxmlformats.org/officeDocument/2006/relationships/vmlDrawing" Target="../drawings/vmlDrawing31.vml"/><Relationship Id="rId3" Type="http://schemas.openxmlformats.org/officeDocument/2006/relationships/slideLayout" Target="../slideLayouts/slideLayout188.xml"/><Relationship Id="rId7" Type="http://schemas.openxmlformats.org/officeDocument/2006/relationships/slideLayout" Target="../slideLayouts/slideLayout192.xml"/><Relationship Id="rId12" Type="http://schemas.openxmlformats.org/officeDocument/2006/relationships/theme" Target="../theme/theme16.xml"/><Relationship Id="rId17" Type="http://schemas.openxmlformats.org/officeDocument/2006/relationships/image" Target="../media/image20.jpeg"/><Relationship Id="rId2" Type="http://schemas.openxmlformats.org/officeDocument/2006/relationships/slideLayout" Target="../slideLayouts/slideLayout187.xml"/><Relationship Id="rId16" Type="http://schemas.openxmlformats.org/officeDocument/2006/relationships/image" Target="../media/image10.emf"/><Relationship Id="rId1" Type="http://schemas.openxmlformats.org/officeDocument/2006/relationships/slideLayout" Target="../slideLayouts/slideLayout186.xml"/><Relationship Id="rId6" Type="http://schemas.openxmlformats.org/officeDocument/2006/relationships/slideLayout" Target="../slideLayouts/slideLayout191.xml"/><Relationship Id="rId11" Type="http://schemas.openxmlformats.org/officeDocument/2006/relationships/slideLayout" Target="../slideLayouts/slideLayout196.xml"/><Relationship Id="rId5" Type="http://schemas.openxmlformats.org/officeDocument/2006/relationships/slideLayout" Target="../slideLayouts/slideLayout190.xml"/><Relationship Id="rId15" Type="http://schemas.openxmlformats.org/officeDocument/2006/relationships/oleObject" Target="../embeddings/oleObject31.bin"/><Relationship Id="rId10" Type="http://schemas.openxmlformats.org/officeDocument/2006/relationships/slideLayout" Target="../slideLayouts/slideLayout195.xml"/><Relationship Id="rId4" Type="http://schemas.openxmlformats.org/officeDocument/2006/relationships/slideLayout" Target="../slideLayouts/slideLayout189.xml"/><Relationship Id="rId9" Type="http://schemas.openxmlformats.org/officeDocument/2006/relationships/slideLayout" Target="../slideLayouts/slideLayout194.xml"/><Relationship Id="rId14" Type="http://schemas.openxmlformats.org/officeDocument/2006/relationships/tags" Target="../tags/tag32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4.xml"/><Relationship Id="rId13" Type="http://schemas.openxmlformats.org/officeDocument/2006/relationships/vmlDrawing" Target="../drawings/vmlDrawing38.vml"/><Relationship Id="rId3" Type="http://schemas.openxmlformats.org/officeDocument/2006/relationships/slideLayout" Target="../slideLayouts/slideLayout199.xml"/><Relationship Id="rId7" Type="http://schemas.openxmlformats.org/officeDocument/2006/relationships/slideLayout" Target="../slideLayouts/slideLayout203.xml"/><Relationship Id="rId12" Type="http://schemas.openxmlformats.org/officeDocument/2006/relationships/theme" Target="../theme/theme17.xml"/><Relationship Id="rId17" Type="http://schemas.openxmlformats.org/officeDocument/2006/relationships/image" Target="../media/image20.jpeg"/><Relationship Id="rId2" Type="http://schemas.openxmlformats.org/officeDocument/2006/relationships/slideLayout" Target="../slideLayouts/slideLayout198.xml"/><Relationship Id="rId16" Type="http://schemas.openxmlformats.org/officeDocument/2006/relationships/image" Target="../media/image10.emf"/><Relationship Id="rId1" Type="http://schemas.openxmlformats.org/officeDocument/2006/relationships/slideLayout" Target="../slideLayouts/slideLayout197.xml"/><Relationship Id="rId6" Type="http://schemas.openxmlformats.org/officeDocument/2006/relationships/slideLayout" Target="../slideLayouts/slideLayout202.xml"/><Relationship Id="rId11" Type="http://schemas.openxmlformats.org/officeDocument/2006/relationships/slideLayout" Target="../slideLayouts/slideLayout207.xml"/><Relationship Id="rId5" Type="http://schemas.openxmlformats.org/officeDocument/2006/relationships/slideLayout" Target="../slideLayouts/slideLayout201.xml"/><Relationship Id="rId15" Type="http://schemas.openxmlformats.org/officeDocument/2006/relationships/oleObject" Target="../embeddings/oleObject39.bin"/><Relationship Id="rId10" Type="http://schemas.openxmlformats.org/officeDocument/2006/relationships/slideLayout" Target="../slideLayouts/slideLayout206.xml"/><Relationship Id="rId4" Type="http://schemas.openxmlformats.org/officeDocument/2006/relationships/slideLayout" Target="../slideLayouts/slideLayout200.xml"/><Relationship Id="rId9" Type="http://schemas.openxmlformats.org/officeDocument/2006/relationships/slideLayout" Target="../slideLayouts/slideLayout205.xml"/><Relationship Id="rId14" Type="http://schemas.openxmlformats.org/officeDocument/2006/relationships/tags" Target="../tags/tag48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5.xml"/><Relationship Id="rId13" Type="http://schemas.openxmlformats.org/officeDocument/2006/relationships/vmlDrawing" Target="../drawings/vmlDrawing43.vml"/><Relationship Id="rId3" Type="http://schemas.openxmlformats.org/officeDocument/2006/relationships/slideLayout" Target="../slideLayouts/slideLayout210.xml"/><Relationship Id="rId7" Type="http://schemas.openxmlformats.org/officeDocument/2006/relationships/slideLayout" Target="../slideLayouts/slideLayout214.xml"/><Relationship Id="rId12" Type="http://schemas.openxmlformats.org/officeDocument/2006/relationships/theme" Target="../theme/theme18.xml"/><Relationship Id="rId17" Type="http://schemas.openxmlformats.org/officeDocument/2006/relationships/image" Target="../media/image20.jpeg"/><Relationship Id="rId2" Type="http://schemas.openxmlformats.org/officeDocument/2006/relationships/slideLayout" Target="../slideLayouts/slideLayout209.xml"/><Relationship Id="rId16" Type="http://schemas.openxmlformats.org/officeDocument/2006/relationships/image" Target="../media/image10.emf"/><Relationship Id="rId1" Type="http://schemas.openxmlformats.org/officeDocument/2006/relationships/slideLayout" Target="../slideLayouts/slideLayout208.xml"/><Relationship Id="rId6" Type="http://schemas.openxmlformats.org/officeDocument/2006/relationships/slideLayout" Target="../slideLayouts/slideLayout213.xml"/><Relationship Id="rId11" Type="http://schemas.openxmlformats.org/officeDocument/2006/relationships/slideLayout" Target="../slideLayouts/slideLayout218.xml"/><Relationship Id="rId5" Type="http://schemas.openxmlformats.org/officeDocument/2006/relationships/slideLayout" Target="../slideLayouts/slideLayout212.xml"/><Relationship Id="rId15" Type="http://schemas.openxmlformats.org/officeDocument/2006/relationships/oleObject" Target="../embeddings/oleObject45.bin"/><Relationship Id="rId10" Type="http://schemas.openxmlformats.org/officeDocument/2006/relationships/slideLayout" Target="../slideLayouts/slideLayout217.xml"/><Relationship Id="rId4" Type="http://schemas.openxmlformats.org/officeDocument/2006/relationships/slideLayout" Target="../slideLayouts/slideLayout211.xml"/><Relationship Id="rId9" Type="http://schemas.openxmlformats.org/officeDocument/2006/relationships/slideLayout" Target="../slideLayouts/slideLayout216.xml"/><Relationship Id="rId14" Type="http://schemas.openxmlformats.org/officeDocument/2006/relationships/tags" Target="../tags/tag62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6.xml"/><Relationship Id="rId13" Type="http://schemas.openxmlformats.org/officeDocument/2006/relationships/vmlDrawing" Target="../drawings/vmlDrawing50.vml"/><Relationship Id="rId3" Type="http://schemas.openxmlformats.org/officeDocument/2006/relationships/slideLayout" Target="../slideLayouts/slideLayout221.xml"/><Relationship Id="rId7" Type="http://schemas.openxmlformats.org/officeDocument/2006/relationships/slideLayout" Target="../slideLayouts/slideLayout225.xml"/><Relationship Id="rId12" Type="http://schemas.openxmlformats.org/officeDocument/2006/relationships/theme" Target="../theme/theme19.xml"/><Relationship Id="rId17" Type="http://schemas.openxmlformats.org/officeDocument/2006/relationships/image" Target="../media/image20.jpeg"/><Relationship Id="rId2" Type="http://schemas.openxmlformats.org/officeDocument/2006/relationships/slideLayout" Target="../slideLayouts/slideLayout220.xml"/><Relationship Id="rId16" Type="http://schemas.openxmlformats.org/officeDocument/2006/relationships/image" Target="../media/image10.emf"/><Relationship Id="rId1" Type="http://schemas.openxmlformats.org/officeDocument/2006/relationships/slideLayout" Target="../slideLayouts/slideLayout219.xml"/><Relationship Id="rId6" Type="http://schemas.openxmlformats.org/officeDocument/2006/relationships/slideLayout" Target="../slideLayouts/slideLayout224.xml"/><Relationship Id="rId11" Type="http://schemas.openxmlformats.org/officeDocument/2006/relationships/slideLayout" Target="../slideLayouts/slideLayout229.xml"/><Relationship Id="rId5" Type="http://schemas.openxmlformats.org/officeDocument/2006/relationships/slideLayout" Target="../slideLayouts/slideLayout223.xml"/><Relationship Id="rId15" Type="http://schemas.openxmlformats.org/officeDocument/2006/relationships/oleObject" Target="../embeddings/oleObject53.bin"/><Relationship Id="rId10" Type="http://schemas.openxmlformats.org/officeDocument/2006/relationships/slideLayout" Target="../slideLayouts/slideLayout228.xml"/><Relationship Id="rId4" Type="http://schemas.openxmlformats.org/officeDocument/2006/relationships/slideLayout" Target="../slideLayouts/slideLayout222.xml"/><Relationship Id="rId9" Type="http://schemas.openxmlformats.org/officeDocument/2006/relationships/slideLayout" Target="../slideLayouts/slideLayout227.xml"/><Relationship Id="rId14" Type="http://schemas.openxmlformats.org/officeDocument/2006/relationships/tags" Target="../tags/tag7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9.emf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7.xml"/><Relationship Id="rId13" Type="http://schemas.openxmlformats.org/officeDocument/2006/relationships/theme" Target="../theme/theme20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232.xml"/><Relationship Id="rId7" Type="http://schemas.openxmlformats.org/officeDocument/2006/relationships/slideLayout" Target="../slideLayouts/slideLayout236.xml"/><Relationship Id="rId12" Type="http://schemas.openxmlformats.org/officeDocument/2006/relationships/slideLayout" Target="../slideLayouts/slideLayout24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31.xml"/><Relationship Id="rId16" Type="http://schemas.openxmlformats.org/officeDocument/2006/relationships/oleObject" Target="../embeddings/oleObject59.bin"/><Relationship Id="rId1" Type="http://schemas.openxmlformats.org/officeDocument/2006/relationships/slideLayout" Target="../slideLayouts/slideLayout230.xml"/><Relationship Id="rId6" Type="http://schemas.openxmlformats.org/officeDocument/2006/relationships/slideLayout" Target="../slideLayouts/slideLayout235.xml"/><Relationship Id="rId11" Type="http://schemas.openxmlformats.org/officeDocument/2006/relationships/slideLayout" Target="../slideLayouts/slideLayout240.xml"/><Relationship Id="rId5" Type="http://schemas.openxmlformats.org/officeDocument/2006/relationships/slideLayout" Target="../slideLayouts/slideLayout234.xml"/><Relationship Id="rId15" Type="http://schemas.openxmlformats.org/officeDocument/2006/relationships/tags" Target="../tags/tag92.xml"/><Relationship Id="rId10" Type="http://schemas.openxmlformats.org/officeDocument/2006/relationships/slideLayout" Target="../slideLayouts/slideLayout239.xml"/><Relationship Id="rId4" Type="http://schemas.openxmlformats.org/officeDocument/2006/relationships/slideLayout" Target="../slideLayouts/slideLayout233.xml"/><Relationship Id="rId9" Type="http://schemas.openxmlformats.org/officeDocument/2006/relationships/slideLayout" Target="../slideLayouts/slideLayout238.xml"/><Relationship Id="rId14" Type="http://schemas.openxmlformats.org/officeDocument/2006/relationships/vmlDrawing" Target="../drawings/vmlDrawing55.v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9.xml"/><Relationship Id="rId13" Type="http://schemas.openxmlformats.org/officeDocument/2006/relationships/theme" Target="../theme/theme21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244.xml"/><Relationship Id="rId7" Type="http://schemas.openxmlformats.org/officeDocument/2006/relationships/slideLayout" Target="../slideLayouts/slideLayout248.xml"/><Relationship Id="rId12" Type="http://schemas.openxmlformats.org/officeDocument/2006/relationships/slideLayout" Target="../slideLayouts/slideLayout25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43.xml"/><Relationship Id="rId16" Type="http://schemas.openxmlformats.org/officeDocument/2006/relationships/oleObject" Target="../embeddings/oleObject62.bin"/><Relationship Id="rId1" Type="http://schemas.openxmlformats.org/officeDocument/2006/relationships/slideLayout" Target="../slideLayouts/slideLayout242.xml"/><Relationship Id="rId6" Type="http://schemas.openxmlformats.org/officeDocument/2006/relationships/slideLayout" Target="../slideLayouts/slideLayout247.xml"/><Relationship Id="rId11" Type="http://schemas.openxmlformats.org/officeDocument/2006/relationships/slideLayout" Target="../slideLayouts/slideLayout252.xml"/><Relationship Id="rId5" Type="http://schemas.openxmlformats.org/officeDocument/2006/relationships/slideLayout" Target="../slideLayouts/slideLayout246.xml"/><Relationship Id="rId15" Type="http://schemas.openxmlformats.org/officeDocument/2006/relationships/tags" Target="../tags/tag95.xml"/><Relationship Id="rId10" Type="http://schemas.openxmlformats.org/officeDocument/2006/relationships/slideLayout" Target="../slideLayouts/slideLayout251.xml"/><Relationship Id="rId4" Type="http://schemas.openxmlformats.org/officeDocument/2006/relationships/slideLayout" Target="../slideLayouts/slideLayout245.xml"/><Relationship Id="rId9" Type="http://schemas.openxmlformats.org/officeDocument/2006/relationships/slideLayout" Target="../slideLayouts/slideLayout250.xml"/><Relationship Id="rId14" Type="http://schemas.openxmlformats.org/officeDocument/2006/relationships/vmlDrawing" Target="../drawings/vmlDrawing58.v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1.xml"/><Relationship Id="rId13" Type="http://schemas.openxmlformats.org/officeDocument/2006/relationships/theme" Target="../theme/theme22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256.xml"/><Relationship Id="rId7" Type="http://schemas.openxmlformats.org/officeDocument/2006/relationships/slideLayout" Target="../slideLayouts/slideLayout260.xml"/><Relationship Id="rId12" Type="http://schemas.openxmlformats.org/officeDocument/2006/relationships/slideLayout" Target="../slideLayouts/slideLayout26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55.xml"/><Relationship Id="rId16" Type="http://schemas.openxmlformats.org/officeDocument/2006/relationships/oleObject" Target="../embeddings/oleObject65.bin"/><Relationship Id="rId1" Type="http://schemas.openxmlformats.org/officeDocument/2006/relationships/slideLayout" Target="../slideLayouts/slideLayout254.xml"/><Relationship Id="rId6" Type="http://schemas.openxmlformats.org/officeDocument/2006/relationships/slideLayout" Target="../slideLayouts/slideLayout259.xml"/><Relationship Id="rId11" Type="http://schemas.openxmlformats.org/officeDocument/2006/relationships/slideLayout" Target="../slideLayouts/slideLayout264.xml"/><Relationship Id="rId5" Type="http://schemas.openxmlformats.org/officeDocument/2006/relationships/slideLayout" Target="../slideLayouts/slideLayout258.xml"/><Relationship Id="rId15" Type="http://schemas.openxmlformats.org/officeDocument/2006/relationships/tags" Target="../tags/tag98.xml"/><Relationship Id="rId10" Type="http://schemas.openxmlformats.org/officeDocument/2006/relationships/slideLayout" Target="../slideLayouts/slideLayout263.xml"/><Relationship Id="rId4" Type="http://schemas.openxmlformats.org/officeDocument/2006/relationships/slideLayout" Target="../slideLayouts/slideLayout257.xml"/><Relationship Id="rId9" Type="http://schemas.openxmlformats.org/officeDocument/2006/relationships/slideLayout" Target="../slideLayouts/slideLayout262.xml"/><Relationship Id="rId14" Type="http://schemas.openxmlformats.org/officeDocument/2006/relationships/vmlDrawing" Target="../drawings/vmlDrawing61.v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3.xml"/><Relationship Id="rId13" Type="http://schemas.openxmlformats.org/officeDocument/2006/relationships/theme" Target="../theme/theme23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268.xml"/><Relationship Id="rId7" Type="http://schemas.openxmlformats.org/officeDocument/2006/relationships/slideLayout" Target="../slideLayouts/slideLayout272.xml"/><Relationship Id="rId12" Type="http://schemas.openxmlformats.org/officeDocument/2006/relationships/slideLayout" Target="../slideLayouts/slideLayout277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67.xml"/><Relationship Id="rId16" Type="http://schemas.openxmlformats.org/officeDocument/2006/relationships/oleObject" Target="../embeddings/oleObject68.bin"/><Relationship Id="rId1" Type="http://schemas.openxmlformats.org/officeDocument/2006/relationships/slideLayout" Target="../slideLayouts/slideLayout266.xml"/><Relationship Id="rId6" Type="http://schemas.openxmlformats.org/officeDocument/2006/relationships/slideLayout" Target="../slideLayouts/slideLayout271.xml"/><Relationship Id="rId11" Type="http://schemas.openxmlformats.org/officeDocument/2006/relationships/slideLayout" Target="../slideLayouts/slideLayout276.xml"/><Relationship Id="rId5" Type="http://schemas.openxmlformats.org/officeDocument/2006/relationships/slideLayout" Target="../slideLayouts/slideLayout270.xml"/><Relationship Id="rId15" Type="http://schemas.openxmlformats.org/officeDocument/2006/relationships/tags" Target="../tags/tag101.xml"/><Relationship Id="rId10" Type="http://schemas.openxmlformats.org/officeDocument/2006/relationships/slideLayout" Target="../slideLayouts/slideLayout275.xml"/><Relationship Id="rId4" Type="http://schemas.openxmlformats.org/officeDocument/2006/relationships/slideLayout" Target="../slideLayouts/slideLayout269.xml"/><Relationship Id="rId9" Type="http://schemas.openxmlformats.org/officeDocument/2006/relationships/slideLayout" Target="../slideLayouts/slideLayout274.xml"/><Relationship Id="rId14" Type="http://schemas.openxmlformats.org/officeDocument/2006/relationships/vmlDrawing" Target="../drawings/vmlDrawing64.v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5.xml"/><Relationship Id="rId13" Type="http://schemas.openxmlformats.org/officeDocument/2006/relationships/theme" Target="../theme/theme24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280.xml"/><Relationship Id="rId7" Type="http://schemas.openxmlformats.org/officeDocument/2006/relationships/slideLayout" Target="../slideLayouts/slideLayout284.xml"/><Relationship Id="rId12" Type="http://schemas.openxmlformats.org/officeDocument/2006/relationships/slideLayout" Target="../slideLayouts/slideLayout289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79.xml"/><Relationship Id="rId16" Type="http://schemas.openxmlformats.org/officeDocument/2006/relationships/oleObject" Target="../embeddings/oleObject71.bin"/><Relationship Id="rId1" Type="http://schemas.openxmlformats.org/officeDocument/2006/relationships/slideLayout" Target="../slideLayouts/slideLayout278.xml"/><Relationship Id="rId6" Type="http://schemas.openxmlformats.org/officeDocument/2006/relationships/slideLayout" Target="../slideLayouts/slideLayout283.xml"/><Relationship Id="rId11" Type="http://schemas.openxmlformats.org/officeDocument/2006/relationships/slideLayout" Target="../slideLayouts/slideLayout288.xml"/><Relationship Id="rId5" Type="http://schemas.openxmlformats.org/officeDocument/2006/relationships/slideLayout" Target="../slideLayouts/slideLayout282.xml"/><Relationship Id="rId15" Type="http://schemas.openxmlformats.org/officeDocument/2006/relationships/tags" Target="../tags/tag104.xml"/><Relationship Id="rId10" Type="http://schemas.openxmlformats.org/officeDocument/2006/relationships/slideLayout" Target="../slideLayouts/slideLayout287.xml"/><Relationship Id="rId4" Type="http://schemas.openxmlformats.org/officeDocument/2006/relationships/slideLayout" Target="../slideLayouts/slideLayout281.xml"/><Relationship Id="rId9" Type="http://schemas.openxmlformats.org/officeDocument/2006/relationships/slideLayout" Target="../slideLayouts/slideLayout286.xml"/><Relationship Id="rId14" Type="http://schemas.openxmlformats.org/officeDocument/2006/relationships/vmlDrawing" Target="../drawings/vmlDrawing67.v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7.xml"/><Relationship Id="rId13" Type="http://schemas.openxmlformats.org/officeDocument/2006/relationships/theme" Target="../theme/theme25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292.xml"/><Relationship Id="rId7" Type="http://schemas.openxmlformats.org/officeDocument/2006/relationships/slideLayout" Target="../slideLayouts/slideLayout296.xml"/><Relationship Id="rId12" Type="http://schemas.openxmlformats.org/officeDocument/2006/relationships/slideLayout" Target="../slideLayouts/slideLayout30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91.xml"/><Relationship Id="rId16" Type="http://schemas.openxmlformats.org/officeDocument/2006/relationships/oleObject" Target="../embeddings/oleObject74.bin"/><Relationship Id="rId1" Type="http://schemas.openxmlformats.org/officeDocument/2006/relationships/slideLayout" Target="../slideLayouts/slideLayout290.xml"/><Relationship Id="rId6" Type="http://schemas.openxmlformats.org/officeDocument/2006/relationships/slideLayout" Target="../slideLayouts/slideLayout295.xml"/><Relationship Id="rId11" Type="http://schemas.openxmlformats.org/officeDocument/2006/relationships/slideLayout" Target="../slideLayouts/slideLayout300.xml"/><Relationship Id="rId5" Type="http://schemas.openxmlformats.org/officeDocument/2006/relationships/slideLayout" Target="../slideLayouts/slideLayout294.xml"/><Relationship Id="rId15" Type="http://schemas.openxmlformats.org/officeDocument/2006/relationships/tags" Target="../tags/tag107.xml"/><Relationship Id="rId10" Type="http://schemas.openxmlformats.org/officeDocument/2006/relationships/slideLayout" Target="../slideLayouts/slideLayout299.xml"/><Relationship Id="rId4" Type="http://schemas.openxmlformats.org/officeDocument/2006/relationships/slideLayout" Target="../slideLayouts/slideLayout293.xml"/><Relationship Id="rId9" Type="http://schemas.openxmlformats.org/officeDocument/2006/relationships/slideLayout" Target="../slideLayouts/slideLayout298.xml"/><Relationship Id="rId14" Type="http://schemas.openxmlformats.org/officeDocument/2006/relationships/vmlDrawing" Target="../drawings/vmlDrawing70.v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9.xml"/><Relationship Id="rId13" Type="http://schemas.openxmlformats.org/officeDocument/2006/relationships/slideLayout" Target="../slideLayouts/slideLayout314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04.xml"/><Relationship Id="rId7" Type="http://schemas.openxmlformats.org/officeDocument/2006/relationships/slideLayout" Target="../slideLayouts/slideLayout308.xml"/><Relationship Id="rId12" Type="http://schemas.openxmlformats.org/officeDocument/2006/relationships/slideLayout" Target="../slideLayouts/slideLayout313.xml"/><Relationship Id="rId17" Type="http://schemas.openxmlformats.org/officeDocument/2006/relationships/oleObject" Target="../embeddings/oleObject77.bin"/><Relationship Id="rId2" Type="http://schemas.openxmlformats.org/officeDocument/2006/relationships/slideLayout" Target="../slideLayouts/slideLayout303.xml"/><Relationship Id="rId16" Type="http://schemas.openxmlformats.org/officeDocument/2006/relationships/tags" Target="../tags/tag110.xml"/><Relationship Id="rId1" Type="http://schemas.openxmlformats.org/officeDocument/2006/relationships/slideLayout" Target="../slideLayouts/slideLayout302.xml"/><Relationship Id="rId6" Type="http://schemas.openxmlformats.org/officeDocument/2006/relationships/slideLayout" Target="../slideLayouts/slideLayout307.xml"/><Relationship Id="rId11" Type="http://schemas.openxmlformats.org/officeDocument/2006/relationships/slideLayout" Target="../slideLayouts/slideLayout312.xml"/><Relationship Id="rId5" Type="http://schemas.openxmlformats.org/officeDocument/2006/relationships/slideLayout" Target="../slideLayouts/slideLayout306.xml"/><Relationship Id="rId15" Type="http://schemas.openxmlformats.org/officeDocument/2006/relationships/vmlDrawing" Target="../drawings/vmlDrawing73.vml"/><Relationship Id="rId10" Type="http://schemas.openxmlformats.org/officeDocument/2006/relationships/slideLayout" Target="../slideLayouts/slideLayout311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305.xml"/><Relationship Id="rId9" Type="http://schemas.openxmlformats.org/officeDocument/2006/relationships/slideLayout" Target="../slideLayouts/slideLayout310.xml"/><Relationship Id="rId14" Type="http://schemas.openxmlformats.org/officeDocument/2006/relationships/theme" Target="../theme/theme26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2.xml"/><Relationship Id="rId13" Type="http://schemas.openxmlformats.org/officeDocument/2006/relationships/slideLayout" Target="../slideLayouts/slideLayout327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17.xml"/><Relationship Id="rId7" Type="http://schemas.openxmlformats.org/officeDocument/2006/relationships/slideLayout" Target="../slideLayouts/slideLayout321.xml"/><Relationship Id="rId12" Type="http://schemas.openxmlformats.org/officeDocument/2006/relationships/slideLayout" Target="../slideLayouts/slideLayout326.xml"/><Relationship Id="rId17" Type="http://schemas.openxmlformats.org/officeDocument/2006/relationships/oleObject" Target="../embeddings/oleObject80.bin"/><Relationship Id="rId2" Type="http://schemas.openxmlformats.org/officeDocument/2006/relationships/slideLayout" Target="../slideLayouts/slideLayout316.xml"/><Relationship Id="rId16" Type="http://schemas.openxmlformats.org/officeDocument/2006/relationships/tags" Target="../tags/tag113.xml"/><Relationship Id="rId1" Type="http://schemas.openxmlformats.org/officeDocument/2006/relationships/slideLayout" Target="../slideLayouts/slideLayout315.xml"/><Relationship Id="rId6" Type="http://schemas.openxmlformats.org/officeDocument/2006/relationships/slideLayout" Target="../slideLayouts/slideLayout320.xml"/><Relationship Id="rId11" Type="http://schemas.openxmlformats.org/officeDocument/2006/relationships/slideLayout" Target="../slideLayouts/slideLayout325.xml"/><Relationship Id="rId5" Type="http://schemas.openxmlformats.org/officeDocument/2006/relationships/slideLayout" Target="../slideLayouts/slideLayout319.xml"/><Relationship Id="rId15" Type="http://schemas.openxmlformats.org/officeDocument/2006/relationships/vmlDrawing" Target="../drawings/vmlDrawing76.vml"/><Relationship Id="rId10" Type="http://schemas.openxmlformats.org/officeDocument/2006/relationships/slideLayout" Target="../slideLayouts/slideLayout324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318.xml"/><Relationship Id="rId9" Type="http://schemas.openxmlformats.org/officeDocument/2006/relationships/slideLayout" Target="../slideLayouts/slideLayout323.xml"/><Relationship Id="rId14" Type="http://schemas.openxmlformats.org/officeDocument/2006/relationships/theme" Target="../theme/theme27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5.xml"/><Relationship Id="rId13" Type="http://schemas.openxmlformats.org/officeDocument/2006/relationships/vmlDrawing" Target="../drawings/vmlDrawing79.vml"/><Relationship Id="rId3" Type="http://schemas.openxmlformats.org/officeDocument/2006/relationships/slideLayout" Target="../slideLayouts/slideLayout330.xml"/><Relationship Id="rId7" Type="http://schemas.openxmlformats.org/officeDocument/2006/relationships/slideLayout" Target="../slideLayouts/slideLayout334.xml"/><Relationship Id="rId12" Type="http://schemas.openxmlformats.org/officeDocument/2006/relationships/theme" Target="../theme/theme28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329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328.xml"/><Relationship Id="rId6" Type="http://schemas.openxmlformats.org/officeDocument/2006/relationships/slideLayout" Target="../slideLayouts/slideLayout333.xml"/><Relationship Id="rId11" Type="http://schemas.openxmlformats.org/officeDocument/2006/relationships/slideLayout" Target="../slideLayouts/slideLayout338.xml"/><Relationship Id="rId5" Type="http://schemas.openxmlformats.org/officeDocument/2006/relationships/slideLayout" Target="../slideLayouts/slideLayout332.xml"/><Relationship Id="rId15" Type="http://schemas.openxmlformats.org/officeDocument/2006/relationships/oleObject" Target="../embeddings/oleObject83.bin"/><Relationship Id="rId10" Type="http://schemas.openxmlformats.org/officeDocument/2006/relationships/slideLayout" Target="../slideLayouts/slideLayout337.xml"/><Relationship Id="rId4" Type="http://schemas.openxmlformats.org/officeDocument/2006/relationships/slideLayout" Target="../slideLayouts/slideLayout331.xml"/><Relationship Id="rId9" Type="http://schemas.openxmlformats.org/officeDocument/2006/relationships/slideLayout" Target="../slideLayouts/slideLayout336.xml"/><Relationship Id="rId14" Type="http://schemas.openxmlformats.org/officeDocument/2006/relationships/tags" Target="../tags/tag116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6.xml"/><Relationship Id="rId13" Type="http://schemas.openxmlformats.org/officeDocument/2006/relationships/slideLayout" Target="../slideLayouts/slideLayout351.xml"/><Relationship Id="rId18" Type="http://schemas.openxmlformats.org/officeDocument/2006/relationships/oleObject" Target="../embeddings/oleObject85.bin"/><Relationship Id="rId3" Type="http://schemas.openxmlformats.org/officeDocument/2006/relationships/slideLayout" Target="../slideLayouts/slideLayout341.xml"/><Relationship Id="rId7" Type="http://schemas.openxmlformats.org/officeDocument/2006/relationships/slideLayout" Target="../slideLayouts/slideLayout345.xml"/><Relationship Id="rId12" Type="http://schemas.openxmlformats.org/officeDocument/2006/relationships/slideLayout" Target="../slideLayouts/slideLayout350.xml"/><Relationship Id="rId17" Type="http://schemas.openxmlformats.org/officeDocument/2006/relationships/tags" Target="../tags/tag118.xml"/><Relationship Id="rId2" Type="http://schemas.openxmlformats.org/officeDocument/2006/relationships/slideLayout" Target="../slideLayouts/slideLayout340.xml"/><Relationship Id="rId16" Type="http://schemas.openxmlformats.org/officeDocument/2006/relationships/vmlDrawing" Target="../drawings/vmlDrawing81.v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339.xml"/><Relationship Id="rId6" Type="http://schemas.openxmlformats.org/officeDocument/2006/relationships/slideLayout" Target="../slideLayouts/slideLayout344.xml"/><Relationship Id="rId11" Type="http://schemas.openxmlformats.org/officeDocument/2006/relationships/slideLayout" Target="../slideLayouts/slideLayout349.xml"/><Relationship Id="rId5" Type="http://schemas.openxmlformats.org/officeDocument/2006/relationships/slideLayout" Target="../slideLayouts/slideLayout343.xml"/><Relationship Id="rId15" Type="http://schemas.openxmlformats.org/officeDocument/2006/relationships/theme" Target="../theme/theme29.xml"/><Relationship Id="rId10" Type="http://schemas.openxmlformats.org/officeDocument/2006/relationships/slideLayout" Target="../slideLayouts/slideLayout348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342.xml"/><Relationship Id="rId9" Type="http://schemas.openxmlformats.org/officeDocument/2006/relationships/slideLayout" Target="../slideLayouts/slideLayout347.xml"/><Relationship Id="rId14" Type="http://schemas.openxmlformats.org/officeDocument/2006/relationships/slideLayout" Target="../slideLayouts/slideLayout35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theme" Target="../theme/theme3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7.xml"/><Relationship Id="rId16" Type="http://schemas.openxmlformats.org/officeDocument/2006/relationships/oleObject" Target="../embeddings/oleObject4.bin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vmlDrawing" Target="../drawings/vmlDrawing4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oleObject" Target="../embeddings/oleObject6.bin"/><Relationship Id="rId2" Type="http://schemas.openxmlformats.org/officeDocument/2006/relationships/slideLayout" Target="../slideLayouts/slideLayout39.xml"/><Relationship Id="rId16" Type="http://schemas.openxmlformats.org/officeDocument/2006/relationships/tags" Target="../tags/tag7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vmlDrawing" Target="../drawings/vmlDrawing6.vml"/><Relationship Id="rId10" Type="http://schemas.openxmlformats.org/officeDocument/2006/relationships/slideLayout" Target="../slideLayouts/slideLayout47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oleObject" Target="../embeddings/oleObject7.bin"/><Relationship Id="rId2" Type="http://schemas.openxmlformats.org/officeDocument/2006/relationships/slideLayout" Target="../slideLayouts/slideLayout52.xml"/><Relationship Id="rId16" Type="http://schemas.openxmlformats.org/officeDocument/2006/relationships/tags" Target="../tags/tag8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vmlDrawing" Target="../drawings/vmlDrawing7.vml"/><Relationship Id="rId10" Type="http://schemas.openxmlformats.org/officeDocument/2006/relationships/slideLayout" Target="../slideLayouts/slideLayout60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slideLayout" Target="../slideLayouts/slideLayout76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17" Type="http://schemas.openxmlformats.org/officeDocument/2006/relationships/oleObject" Target="../embeddings/oleObject9.bin"/><Relationship Id="rId2" Type="http://schemas.openxmlformats.org/officeDocument/2006/relationships/slideLayout" Target="../slideLayouts/slideLayout65.xml"/><Relationship Id="rId16" Type="http://schemas.openxmlformats.org/officeDocument/2006/relationships/tags" Target="../tags/tag10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5" Type="http://schemas.openxmlformats.org/officeDocument/2006/relationships/slideLayout" Target="../slideLayouts/slideLayout68.xml"/><Relationship Id="rId15" Type="http://schemas.openxmlformats.org/officeDocument/2006/relationships/vmlDrawing" Target="../drawings/vmlDrawing9.vml"/><Relationship Id="rId10" Type="http://schemas.openxmlformats.org/officeDocument/2006/relationships/slideLayout" Target="../slideLayouts/slideLayout73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9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79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17" Type="http://schemas.openxmlformats.org/officeDocument/2006/relationships/oleObject" Target="../embeddings/oleObject10.bin"/><Relationship Id="rId2" Type="http://schemas.openxmlformats.org/officeDocument/2006/relationships/slideLayout" Target="../slideLayouts/slideLayout78.xml"/><Relationship Id="rId16" Type="http://schemas.openxmlformats.org/officeDocument/2006/relationships/tags" Target="../tags/tag11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5" Type="http://schemas.openxmlformats.org/officeDocument/2006/relationships/slideLayout" Target="../slideLayouts/slideLayout81.xml"/><Relationship Id="rId15" Type="http://schemas.openxmlformats.org/officeDocument/2006/relationships/vmlDrawing" Target="../drawings/vmlDrawing10.vml"/><Relationship Id="rId10" Type="http://schemas.openxmlformats.org/officeDocument/2006/relationships/slideLayout" Target="../slideLayouts/slideLayout86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slideLayout" Target="../slideLayouts/slideLayout10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slideLayout" Target="../slideLayouts/slideLayout101.xml"/><Relationship Id="rId17" Type="http://schemas.openxmlformats.org/officeDocument/2006/relationships/oleObject" Target="../embeddings/oleObject13.bin"/><Relationship Id="rId2" Type="http://schemas.openxmlformats.org/officeDocument/2006/relationships/slideLayout" Target="../slideLayouts/slideLayout91.xml"/><Relationship Id="rId16" Type="http://schemas.openxmlformats.org/officeDocument/2006/relationships/tags" Target="../tags/tag14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5" Type="http://schemas.openxmlformats.org/officeDocument/2006/relationships/vmlDrawing" Target="../drawings/vmlDrawing13.vml"/><Relationship Id="rId10" Type="http://schemas.openxmlformats.org/officeDocument/2006/relationships/slideLayout" Target="../slideLayouts/slideLayout99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slideLayout" Target="../slideLayouts/slideLayout115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12" Type="http://schemas.openxmlformats.org/officeDocument/2006/relationships/slideLayout" Target="../slideLayouts/slideLayout114.xml"/><Relationship Id="rId17" Type="http://schemas.openxmlformats.org/officeDocument/2006/relationships/oleObject" Target="../embeddings/oleObject16.bin"/><Relationship Id="rId2" Type="http://schemas.openxmlformats.org/officeDocument/2006/relationships/slideLayout" Target="../slideLayouts/slideLayout104.xml"/><Relationship Id="rId16" Type="http://schemas.openxmlformats.org/officeDocument/2006/relationships/tags" Target="../tags/tag17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07.xml"/><Relationship Id="rId15" Type="http://schemas.openxmlformats.org/officeDocument/2006/relationships/vmlDrawing" Target="../drawings/vmlDrawing16.vml"/><Relationship Id="rId10" Type="http://schemas.openxmlformats.org/officeDocument/2006/relationships/slideLayout" Target="../slideLayouts/slideLayout112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6021607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09" name="think-cell Folie" r:id="rId16" imgW="360" imgH="360" progId="TCLayout.ActiveDocument.1">
                  <p:embed/>
                </p:oleObj>
              </mc:Choice>
              <mc:Fallback>
                <p:oleObj name="think-cell Folie" r:id="rId1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5984875"/>
            <a:ext cx="9144000" cy="873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93688" y="0"/>
            <a:ext cx="8556625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 STYLE DU TITR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3688" y="1098550"/>
            <a:ext cx="8556625" cy="5026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s styles du texte du masque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38226" y="6503988"/>
            <a:ext cx="629549" cy="234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14400" eaLnBrk="1" hangingPunct="1"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030" name="Picture 5" descr="C:\Users\I0173026\Desktop\Logos\Logo-Sanofi-CHC-rvb-HD.JPG"/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3688" y="6373813"/>
            <a:ext cx="24352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Connecteur droit 2"/>
          <p:cNvCxnSpPr/>
          <p:nvPr/>
        </p:nvCxnSpPr>
        <p:spPr>
          <a:xfrm>
            <a:off x="293688" y="6243638"/>
            <a:ext cx="8556625" cy="0"/>
          </a:xfrm>
          <a:prstGeom prst="line">
            <a:avLst/>
          </a:prstGeom>
          <a:ln w="19050">
            <a:solidFill>
              <a:srgbClr val="A5A5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2" name="Groupe 7"/>
          <p:cNvGrpSpPr>
            <a:grpSpLocks/>
          </p:cNvGrpSpPr>
          <p:nvPr/>
        </p:nvGrpSpPr>
        <p:grpSpPr bwMode="auto">
          <a:xfrm>
            <a:off x="293688" y="900113"/>
            <a:ext cx="8556625" cy="112712"/>
            <a:chOff x="627063" y="1271848"/>
            <a:chExt cx="7929633" cy="0"/>
          </a:xfrm>
        </p:grpSpPr>
        <p:cxnSp>
          <p:nvCxnSpPr>
            <p:cNvPr id="11" name="Connecteur droit 10"/>
            <p:cNvCxnSpPr/>
            <p:nvPr userDrawn="1"/>
          </p:nvCxnSpPr>
          <p:spPr>
            <a:xfrm>
              <a:off x="627063" y="1271848"/>
              <a:ext cx="2656942" cy="0"/>
            </a:xfrm>
            <a:prstGeom prst="line">
              <a:avLst/>
            </a:prstGeom>
            <a:ln w="28575">
              <a:solidFill>
                <a:srgbClr val="BAA0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 userDrawn="1"/>
          </p:nvCxnSpPr>
          <p:spPr>
            <a:xfrm>
              <a:off x="3263409" y="1271848"/>
              <a:ext cx="2656942" cy="0"/>
            </a:xfrm>
            <a:prstGeom prst="line">
              <a:avLst/>
            </a:prstGeom>
            <a:ln w="28575">
              <a:solidFill>
                <a:srgbClr val="3C419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 userDrawn="1"/>
          </p:nvCxnSpPr>
          <p:spPr>
            <a:xfrm>
              <a:off x="5899754" y="1271848"/>
              <a:ext cx="2656942" cy="0"/>
            </a:xfrm>
            <a:prstGeom prst="line">
              <a:avLst/>
            </a:prstGeom>
            <a:ln w="28575">
              <a:solidFill>
                <a:srgbClr val="ACB2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515682" r:id="rId1"/>
    <p:sldLayoutId id="2147515683" r:id="rId2"/>
    <p:sldLayoutId id="2147515684" r:id="rId3"/>
    <p:sldLayoutId id="2147515685" r:id="rId4"/>
    <p:sldLayoutId id="2147515686" r:id="rId5"/>
    <p:sldLayoutId id="2147515687" r:id="rId6"/>
    <p:sldLayoutId id="2147515688" r:id="rId7"/>
    <p:sldLayoutId id="2147515689" r:id="rId8"/>
    <p:sldLayoutId id="2147515690" r:id="rId9"/>
    <p:sldLayoutId id="2147515691" r:id="rId10"/>
    <p:sldLayoutId id="2147515694" r:id="rId11"/>
    <p:sldLayoutId id="2147515765" r:id="rId12"/>
  </p:sldLayoutIdLst>
  <p:transition>
    <p:fade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0557548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84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5984875"/>
            <a:ext cx="9144000" cy="873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93688" y="0"/>
            <a:ext cx="8556625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QUEZ POUR MODIFIER LE STYLE DU TITR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3688" y="1098550"/>
            <a:ext cx="8556625" cy="5026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quez pour modifier les styles du texte du masque</a:t>
            </a:r>
          </a:p>
          <a:p>
            <a:pPr lvl="1"/>
            <a:r>
              <a:rPr lang="en-US" smtClean="0"/>
              <a:t>Deuxième niveau</a:t>
            </a:r>
          </a:p>
          <a:p>
            <a:pPr lvl="2"/>
            <a:r>
              <a:rPr lang="en-US" smtClean="0"/>
              <a:t>Troisième niveau</a:t>
            </a:r>
          </a:p>
          <a:p>
            <a:pPr lvl="3"/>
            <a:r>
              <a:rPr lang="en-US" smtClean="0"/>
              <a:t>Quatrième niveau</a:t>
            </a:r>
          </a:p>
          <a:p>
            <a:pPr lvl="4"/>
            <a:r>
              <a:rPr lang="en-US" smtClean="0"/>
              <a:t>Cinquième niveau</a:t>
            </a: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38226" y="6503988"/>
            <a:ext cx="629549" cy="234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14400" eaLnBrk="1" hangingPunct="1"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 dirty="0">
                <a:latin typeface="Arial"/>
              </a:rPr>
              <a:t>|</a:t>
            </a:r>
            <a:r>
              <a:rPr lang="en-US" sz="900" baseline="16000" dirty="0">
                <a:latin typeface="Arial"/>
              </a:rPr>
              <a:t>        </a:t>
            </a:r>
            <a:fld id="{C8A5DD0B-47B8-4FFF-85E0-6207ABAD9D9D}" type="slidenum">
              <a:rPr lang="en-US">
                <a:latin typeface="Arial"/>
              </a:rPr>
              <a:pPr/>
              <a:t>‹#›</a:t>
            </a:fld>
            <a:endParaRPr lang="en-US" dirty="0">
              <a:latin typeface="Arial"/>
            </a:endParaRPr>
          </a:p>
        </p:txBody>
      </p:sp>
      <p:pic>
        <p:nvPicPr>
          <p:cNvPr id="1030" name="Picture 5" descr="C:\Users\I0173026\Desktop\Logos\Logo-Sanofi-CHC-rvb-HD.JPG"/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688" y="6373813"/>
            <a:ext cx="24352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Connecteur droit 2"/>
          <p:cNvCxnSpPr/>
          <p:nvPr/>
        </p:nvCxnSpPr>
        <p:spPr>
          <a:xfrm>
            <a:off x="293688" y="6243638"/>
            <a:ext cx="8556625" cy="0"/>
          </a:xfrm>
          <a:prstGeom prst="line">
            <a:avLst/>
          </a:prstGeom>
          <a:ln w="19050">
            <a:solidFill>
              <a:srgbClr val="A5A5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2" name="Groupe 7"/>
          <p:cNvGrpSpPr>
            <a:grpSpLocks/>
          </p:cNvGrpSpPr>
          <p:nvPr/>
        </p:nvGrpSpPr>
        <p:grpSpPr bwMode="auto">
          <a:xfrm>
            <a:off x="293688" y="900113"/>
            <a:ext cx="8556625" cy="112712"/>
            <a:chOff x="627063" y="1271848"/>
            <a:chExt cx="7929633" cy="0"/>
          </a:xfrm>
        </p:grpSpPr>
        <p:cxnSp>
          <p:nvCxnSpPr>
            <p:cNvPr id="11" name="Connecteur droit 10"/>
            <p:cNvCxnSpPr/>
            <p:nvPr userDrawn="1"/>
          </p:nvCxnSpPr>
          <p:spPr>
            <a:xfrm>
              <a:off x="627063" y="1271848"/>
              <a:ext cx="2656942" cy="0"/>
            </a:xfrm>
            <a:prstGeom prst="line">
              <a:avLst/>
            </a:prstGeom>
            <a:ln w="28575">
              <a:solidFill>
                <a:srgbClr val="BAA0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 userDrawn="1"/>
          </p:nvCxnSpPr>
          <p:spPr>
            <a:xfrm>
              <a:off x="3263409" y="1271848"/>
              <a:ext cx="2656942" cy="0"/>
            </a:xfrm>
            <a:prstGeom prst="line">
              <a:avLst/>
            </a:prstGeom>
            <a:ln w="28575">
              <a:solidFill>
                <a:srgbClr val="3C419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 userDrawn="1"/>
          </p:nvCxnSpPr>
          <p:spPr>
            <a:xfrm>
              <a:off x="5899754" y="1271848"/>
              <a:ext cx="2656942" cy="0"/>
            </a:xfrm>
            <a:prstGeom prst="line">
              <a:avLst/>
            </a:prstGeom>
            <a:ln w="28575">
              <a:solidFill>
                <a:srgbClr val="ACB2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85792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15809" r:id="rId1"/>
    <p:sldLayoutId id="2147515810" r:id="rId2"/>
    <p:sldLayoutId id="2147515811" r:id="rId3"/>
    <p:sldLayoutId id="2147515812" r:id="rId4"/>
    <p:sldLayoutId id="2147515813" r:id="rId5"/>
    <p:sldLayoutId id="2147515814" r:id="rId6"/>
    <p:sldLayoutId id="2147515815" r:id="rId7"/>
    <p:sldLayoutId id="2147515816" r:id="rId8"/>
    <p:sldLayoutId id="2147515817" r:id="rId9"/>
    <p:sldLayoutId id="2147515818" r:id="rId10"/>
    <p:sldLayoutId id="2147515819" r:id="rId11"/>
    <p:sldLayoutId id="2147515820" r:id="rId12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 sz="20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Calibri" panose="020F0502020204030204" pitchFamily="34" charset="0"/>
          <a:cs typeface="Calibri" panose="020F0502020204030204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Calibri" panose="020F0502020204030204" pitchFamily="34" charset="0"/>
          <a:cs typeface="Calibri" panose="020F0502020204030204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Calibri" panose="020F0502020204030204" pitchFamily="34" charset="0"/>
          <a:cs typeface="Calibri" panose="020F0502020204030204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Calibri" panose="020F0502020204030204" pitchFamily="34" charset="0"/>
          <a:cs typeface="Calibri" panose="020F0502020204030204" pitchFamily="34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668137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32" name="think-cell Folie" r:id="rId17" imgW="360" imgH="360" progId="TCLayout.ActiveDocument.1">
                  <p:embed/>
                </p:oleObj>
              </mc:Choice>
              <mc:Fallback>
                <p:oleObj name="think-cell Folie" r:id="rId17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5984875"/>
            <a:ext cx="9144000" cy="873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93688" y="0"/>
            <a:ext cx="8556625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 STYLE DU TITR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3688" y="1098550"/>
            <a:ext cx="8556625" cy="5026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s styles du texte du masque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38226" y="6503988"/>
            <a:ext cx="629549" cy="234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14400" eaLnBrk="1" hangingPunct="1"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030" name="Picture 5" descr="C:\Users\I0173026\Desktop\Logos\Logo-Sanofi-CHC-rvb-HD.JPG"/>
          <p:cNvPicPr>
            <a:picLocks noChangeAspect="1" noChangeArrowheads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3688" y="6373813"/>
            <a:ext cx="24352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Connecteur droit 2"/>
          <p:cNvCxnSpPr/>
          <p:nvPr/>
        </p:nvCxnSpPr>
        <p:spPr>
          <a:xfrm>
            <a:off x="293688" y="6243638"/>
            <a:ext cx="8556625" cy="0"/>
          </a:xfrm>
          <a:prstGeom prst="line">
            <a:avLst/>
          </a:prstGeom>
          <a:ln w="19050">
            <a:solidFill>
              <a:srgbClr val="A5A5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2" name="Groupe 7"/>
          <p:cNvGrpSpPr>
            <a:grpSpLocks/>
          </p:cNvGrpSpPr>
          <p:nvPr/>
        </p:nvGrpSpPr>
        <p:grpSpPr bwMode="auto">
          <a:xfrm>
            <a:off x="293688" y="900113"/>
            <a:ext cx="8556625" cy="112712"/>
            <a:chOff x="627063" y="1271848"/>
            <a:chExt cx="7929633" cy="0"/>
          </a:xfrm>
        </p:grpSpPr>
        <p:cxnSp>
          <p:nvCxnSpPr>
            <p:cNvPr id="11" name="Connecteur droit 10"/>
            <p:cNvCxnSpPr/>
            <p:nvPr userDrawn="1"/>
          </p:nvCxnSpPr>
          <p:spPr>
            <a:xfrm>
              <a:off x="627063" y="1271848"/>
              <a:ext cx="2656942" cy="0"/>
            </a:xfrm>
            <a:prstGeom prst="line">
              <a:avLst/>
            </a:prstGeom>
            <a:ln w="28575">
              <a:solidFill>
                <a:srgbClr val="BAA0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 userDrawn="1"/>
          </p:nvCxnSpPr>
          <p:spPr>
            <a:xfrm>
              <a:off x="3263409" y="1271848"/>
              <a:ext cx="2656942" cy="0"/>
            </a:xfrm>
            <a:prstGeom prst="line">
              <a:avLst/>
            </a:prstGeom>
            <a:ln w="28575">
              <a:solidFill>
                <a:srgbClr val="3C419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 userDrawn="1"/>
          </p:nvCxnSpPr>
          <p:spPr>
            <a:xfrm>
              <a:off x="5899754" y="1271848"/>
              <a:ext cx="2656942" cy="0"/>
            </a:xfrm>
            <a:prstGeom prst="line">
              <a:avLst/>
            </a:prstGeom>
            <a:ln w="28575">
              <a:solidFill>
                <a:srgbClr val="ACB2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06586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15822" r:id="rId1"/>
    <p:sldLayoutId id="2147515823" r:id="rId2"/>
    <p:sldLayoutId id="2147515824" r:id="rId3"/>
    <p:sldLayoutId id="2147515825" r:id="rId4"/>
    <p:sldLayoutId id="2147515826" r:id="rId5"/>
    <p:sldLayoutId id="2147515827" r:id="rId6"/>
    <p:sldLayoutId id="2147515828" r:id="rId7"/>
    <p:sldLayoutId id="2147515829" r:id="rId8"/>
    <p:sldLayoutId id="2147515830" r:id="rId9"/>
    <p:sldLayoutId id="2147515831" r:id="rId10"/>
    <p:sldLayoutId id="2147515832" r:id="rId11"/>
    <p:sldLayoutId id="2147515833" r:id="rId12"/>
    <p:sldLayoutId id="2147515834" r:id="rId13"/>
  </p:sldLayoutIdLst>
  <p:transition>
    <p:fade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27063" y="284163"/>
            <a:ext cx="7858125" cy="841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quez pour modifier le style du ti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7063" y="1390650"/>
            <a:ext cx="7862887" cy="4248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quez pour modifier les styles du texte du masque</a:t>
            </a:r>
          </a:p>
          <a:p>
            <a:pPr lvl="1"/>
            <a:r>
              <a:rPr lang="en-US" smtClean="0"/>
              <a:t>Deuxième niveau</a:t>
            </a:r>
          </a:p>
          <a:p>
            <a:pPr lvl="2"/>
            <a:r>
              <a:rPr lang="en-US" smtClean="0"/>
              <a:t>Troisième niveau</a:t>
            </a:r>
          </a:p>
          <a:p>
            <a:pPr lvl="3"/>
            <a:r>
              <a:rPr lang="en-US" smtClean="0"/>
              <a:t>Quatrième niveau</a:t>
            </a:r>
          </a:p>
          <a:p>
            <a:pPr lvl="4"/>
            <a:r>
              <a:rPr lang="en-US" smtClean="0"/>
              <a:t>Cinquième niveau</a:t>
            </a:r>
          </a:p>
        </p:txBody>
      </p:sp>
      <p:sp>
        <p:nvSpPr>
          <p:cNvPr id="3100" name="Rectangle 2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203825" y="6427788"/>
            <a:ext cx="2895600" cy="238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rgbClr val="596169"/>
                </a:solidFill>
              </a:defRPr>
            </a:lvl1pPr>
          </a:lstStyle>
          <a:p>
            <a:pPr defTabSz="914400" eaLnBrk="1" hangingPunct="1">
              <a:defRPr/>
            </a:pPr>
            <a:r>
              <a:rPr lang="en-US">
                <a:latin typeface="Arial" charset="0"/>
              </a:rPr>
              <a:t>NAME OF PRESENTATION</a:t>
            </a: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85138" y="6424613"/>
            <a:ext cx="4826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rgbClr val="596169"/>
                </a:solidFill>
              </a:defRPr>
            </a:lvl1pPr>
          </a:lstStyle>
          <a:p>
            <a:pPr defTabSz="914400" eaLnBrk="1" hangingPunct="1">
              <a:defRPr/>
            </a:pPr>
            <a:r>
              <a:rPr lang="en-US">
                <a:latin typeface="Arial" charset="0"/>
              </a:rPr>
              <a:t>|</a:t>
            </a:r>
            <a:r>
              <a:rPr lang="en-US" sz="900" baseline="16000">
                <a:latin typeface="Arial" charset="0"/>
              </a:rPr>
              <a:t>         </a:t>
            </a:r>
            <a:fld id="{F166B442-7EC1-43ED-B18B-302EEE2C968E}" type="slidenum">
              <a:rPr lang="en-US">
                <a:latin typeface="Arial" charset="0"/>
              </a:rPr>
              <a:pPr defTabSz="914400" eaLnBrk="1" hangingPunct="1">
                <a:defRPr/>
              </a:pPr>
              <a:t>‹#›</a:t>
            </a:fld>
            <a:endParaRPr lang="en-US">
              <a:latin typeface="Arial" charset="0"/>
            </a:endParaRPr>
          </a:p>
        </p:txBody>
      </p:sp>
      <p:pic>
        <p:nvPicPr>
          <p:cNvPr id="7" name="Picture 5" descr="C:\Users\I0143074\Desktop\Logo-Sanofi-CHC-rvb-HD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472" y="6219372"/>
            <a:ext cx="2105092" cy="31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581811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15836" r:id="rId1"/>
    <p:sldLayoutId id="2147515837" r:id="rId2"/>
    <p:sldLayoutId id="2147515838" r:id="rId3"/>
    <p:sldLayoutId id="2147515839" r:id="rId4"/>
    <p:sldLayoutId id="2147515840" r:id="rId5"/>
    <p:sldLayoutId id="2147515841" r:id="rId6"/>
    <p:sldLayoutId id="2147515842" r:id="rId7"/>
    <p:sldLayoutId id="2147515843" r:id="rId8"/>
    <p:sldLayoutId id="2147515844" r:id="rId9"/>
    <p:sldLayoutId id="2147515845" r:id="rId10"/>
    <p:sldLayoutId id="2147515846" r:id="rId11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0304457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528" name="think-cell Folie" r:id="rId16" imgW="360" imgH="360" progId="TCLayout.ActiveDocument.1">
                  <p:embed/>
                </p:oleObj>
              </mc:Choice>
              <mc:Fallback>
                <p:oleObj name="think-cell Folie" r:id="rId1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5984875"/>
            <a:ext cx="9144000" cy="873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93688" y="0"/>
            <a:ext cx="8556625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 STYLE DU TITR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3688" y="1098550"/>
            <a:ext cx="8556625" cy="5026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s styles du texte du masque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38226" y="6503988"/>
            <a:ext cx="629549" cy="234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14400" eaLnBrk="1" hangingPunct="1"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030" name="Picture 5" descr="C:\Users\I0173026\Desktop\Logos\Logo-Sanofi-CHC-rvb-HD.JPG"/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3688" y="6373813"/>
            <a:ext cx="24352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Connecteur droit 2"/>
          <p:cNvCxnSpPr/>
          <p:nvPr/>
        </p:nvCxnSpPr>
        <p:spPr>
          <a:xfrm>
            <a:off x="293688" y="6243638"/>
            <a:ext cx="8556625" cy="0"/>
          </a:xfrm>
          <a:prstGeom prst="line">
            <a:avLst/>
          </a:prstGeom>
          <a:ln w="19050">
            <a:solidFill>
              <a:srgbClr val="A5A5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2" name="Groupe 7"/>
          <p:cNvGrpSpPr>
            <a:grpSpLocks/>
          </p:cNvGrpSpPr>
          <p:nvPr/>
        </p:nvGrpSpPr>
        <p:grpSpPr bwMode="auto">
          <a:xfrm>
            <a:off x="293688" y="900113"/>
            <a:ext cx="8556625" cy="112712"/>
            <a:chOff x="627063" y="1271848"/>
            <a:chExt cx="7929633" cy="0"/>
          </a:xfrm>
        </p:grpSpPr>
        <p:cxnSp>
          <p:nvCxnSpPr>
            <p:cNvPr id="11" name="Connecteur droit 10"/>
            <p:cNvCxnSpPr/>
            <p:nvPr userDrawn="1"/>
          </p:nvCxnSpPr>
          <p:spPr>
            <a:xfrm>
              <a:off x="627063" y="1271848"/>
              <a:ext cx="2656942" cy="0"/>
            </a:xfrm>
            <a:prstGeom prst="line">
              <a:avLst/>
            </a:prstGeom>
            <a:ln w="28575">
              <a:solidFill>
                <a:srgbClr val="BAA0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 userDrawn="1"/>
          </p:nvCxnSpPr>
          <p:spPr>
            <a:xfrm>
              <a:off x="3263409" y="1271848"/>
              <a:ext cx="2656942" cy="0"/>
            </a:xfrm>
            <a:prstGeom prst="line">
              <a:avLst/>
            </a:prstGeom>
            <a:ln w="28575">
              <a:solidFill>
                <a:srgbClr val="3C419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 userDrawn="1"/>
          </p:nvCxnSpPr>
          <p:spPr>
            <a:xfrm>
              <a:off x="5899754" y="1271848"/>
              <a:ext cx="2656942" cy="0"/>
            </a:xfrm>
            <a:prstGeom prst="line">
              <a:avLst/>
            </a:prstGeom>
            <a:ln w="28575">
              <a:solidFill>
                <a:srgbClr val="ACB2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6638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15849" r:id="rId1"/>
    <p:sldLayoutId id="2147515850" r:id="rId2"/>
    <p:sldLayoutId id="2147515851" r:id="rId3"/>
    <p:sldLayoutId id="2147515852" r:id="rId4"/>
    <p:sldLayoutId id="2147515853" r:id="rId5"/>
    <p:sldLayoutId id="2147515854" r:id="rId6"/>
    <p:sldLayoutId id="2147515855" r:id="rId7"/>
    <p:sldLayoutId id="2147515856" r:id="rId8"/>
    <p:sldLayoutId id="2147515857" r:id="rId9"/>
    <p:sldLayoutId id="2147515858" r:id="rId10"/>
    <p:sldLayoutId id="2147515859" r:id="rId11"/>
    <p:sldLayoutId id="2147515860" r:id="rId12"/>
  </p:sldLayoutIdLst>
  <p:transition>
    <p:fade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3785506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9" name="Diapositive think-cell" r:id="rId16" imgW="270" imgH="270" progId="TCLayout.ActiveDocument.1">
                  <p:embed/>
                </p:oleObj>
              </mc:Choice>
              <mc:Fallback>
                <p:oleObj name="Diapositive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27063" y="284163"/>
            <a:ext cx="7858125" cy="841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quez pour modifier le style du ti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7063" y="1390650"/>
            <a:ext cx="7862887" cy="4248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quez pour modifier les styles du texte du masque</a:t>
            </a:r>
          </a:p>
          <a:p>
            <a:pPr lvl="1"/>
            <a:r>
              <a:rPr lang="en-US" smtClean="0"/>
              <a:t>Deuxième niveau</a:t>
            </a:r>
          </a:p>
          <a:p>
            <a:pPr lvl="2"/>
            <a:r>
              <a:rPr lang="en-US" smtClean="0"/>
              <a:t>Troisième niveau</a:t>
            </a:r>
          </a:p>
          <a:p>
            <a:pPr lvl="3"/>
            <a:r>
              <a:rPr lang="en-US" smtClean="0"/>
              <a:t>Quatrième niveau</a:t>
            </a:r>
          </a:p>
          <a:p>
            <a:pPr lvl="4"/>
            <a:r>
              <a:rPr lang="en-US" smtClean="0"/>
              <a:t>Cinquième niveau</a:t>
            </a:r>
          </a:p>
        </p:txBody>
      </p:sp>
      <p:sp>
        <p:nvSpPr>
          <p:cNvPr id="3100" name="Rectangle 2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165725" y="6427788"/>
            <a:ext cx="2895600" cy="238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rgbClr val="292929"/>
                </a:solidFill>
              </a:defRPr>
            </a:lvl1pPr>
          </a:lstStyle>
          <a:p>
            <a:pPr defTabSz="914400" eaLnBrk="1" hangingPunct="1">
              <a:defRPr/>
            </a:pPr>
            <a:r>
              <a:rPr lang="en-US" smtClean="0">
                <a:latin typeface="Arial" charset="0"/>
                <a:ea typeface="+mn-ea"/>
              </a:rPr>
              <a:t>CHC Sales - 2017</a:t>
            </a:r>
            <a:endParaRPr lang="en-US">
              <a:latin typeface="Arial" charset="0"/>
              <a:ea typeface="+mn-ea"/>
            </a:endParaRP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86725" y="6424613"/>
            <a:ext cx="4826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rgbClr val="596169"/>
                </a:solidFill>
              </a:defRPr>
            </a:lvl1pPr>
          </a:lstStyle>
          <a:p>
            <a:pPr defTabSz="914400" eaLnBrk="1" hangingPunct="1">
              <a:defRPr/>
            </a:pPr>
            <a:r>
              <a:rPr lang="en-US">
                <a:latin typeface="Arial" charset="0"/>
                <a:ea typeface="+mn-ea"/>
              </a:rPr>
              <a:t>|</a:t>
            </a:r>
            <a:r>
              <a:rPr lang="en-US" sz="900" baseline="16000">
                <a:latin typeface="Arial" charset="0"/>
                <a:ea typeface="+mn-ea"/>
              </a:rPr>
              <a:t>        </a:t>
            </a:r>
            <a:fld id="{CCEB65C5-0701-4261-8124-72F32AA3B9C2}" type="slidenum">
              <a:rPr lang="en-US">
                <a:latin typeface="Arial" charset="0"/>
                <a:ea typeface="+mn-ea"/>
              </a:rPr>
              <a:pPr defTabSz="914400" eaLnBrk="1" hangingPunct="1">
                <a:defRPr/>
              </a:pPr>
              <a:t>‹#›</a:t>
            </a:fld>
            <a:endParaRPr lang="en-US">
              <a:latin typeface="Arial" charset="0"/>
              <a:ea typeface="+mn-ea"/>
            </a:endParaRPr>
          </a:p>
        </p:txBody>
      </p:sp>
      <p:pic>
        <p:nvPicPr>
          <p:cNvPr id="7" name="Picture 5" descr="C:\Users\I0143074\Desktop\Logo-Sanofi-CHC-rvb-HD.png"/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472" y="6219372"/>
            <a:ext cx="2246736" cy="33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8027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15862" r:id="rId1"/>
    <p:sldLayoutId id="2147515863" r:id="rId2"/>
    <p:sldLayoutId id="2147515864" r:id="rId3"/>
    <p:sldLayoutId id="2147515865" r:id="rId4"/>
    <p:sldLayoutId id="2147515866" r:id="rId5"/>
    <p:sldLayoutId id="2147515867" r:id="rId6"/>
    <p:sldLayoutId id="2147515868" r:id="rId7"/>
    <p:sldLayoutId id="2147515869" r:id="rId8"/>
    <p:sldLayoutId id="2147515870" r:id="rId9"/>
    <p:sldLayoutId id="2147515871" r:id="rId10"/>
    <p:sldLayoutId id="2147515872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3511297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47" name="Diapositive think-cell" r:id="rId16" imgW="270" imgH="270" progId="TCLayout.ActiveDocument.1">
                  <p:embed/>
                </p:oleObj>
              </mc:Choice>
              <mc:Fallback>
                <p:oleObj name="Diapositive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27063" y="284163"/>
            <a:ext cx="7858125" cy="841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quez pour modifier le style du ti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7063" y="1390650"/>
            <a:ext cx="7862887" cy="4248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quez pour modifier les styles du texte du masque</a:t>
            </a:r>
          </a:p>
          <a:p>
            <a:pPr lvl="1"/>
            <a:r>
              <a:rPr lang="en-US" smtClean="0"/>
              <a:t>Deuxième niveau</a:t>
            </a:r>
          </a:p>
          <a:p>
            <a:pPr lvl="2"/>
            <a:r>
              <a:rPr lang="en-US" smtClean="0"/>
              <a:t>Troisième niveau</a:t>
            </a:r>
          </a:p>
          <a:p>
            <a:pPr lvl="3"/>
            <a:r>
              <a:rPr lang="en-US" smtClean="0"/>
              <a:t>Quatrième niveau</a:t>
            </a:r>
          </a:p>
          <a:p>
            <a:pPr lvl="4"/>
            <a:r>
              <a:rPr lang="en-US" smtClean="0"/>
              <a:t>Cinquième niveau</a:t>
            </a:r>
          </a:p>
        </p:txBody>
      </p:sp>
      <p:sp>
        <p:nvSpPr>
          <p:cNvPr id="3100" name="Rectangle 2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165725" y="6427788"/>
            <a:ext cx="2895600" cy="238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rgbClr val="292929"/>
                </a:solidFill>
              </a:defRPr>
            </a:lvl1pPr>
          </a:lstStyle>
          <a:p>
            <a:pPr defTabSz="914400" eaLnBrk="1" hangingPunct="1">
              <a:defRPr/>
            </a:pPr>
            <a:r>
              <a:rPr lang="en-US">
                <a:latin typeface="Arial" charset="0"/>
                <a:ea typeface="+mn-ea"/>
              </a:rPr>
              <a:t>NAME OF PRESENTATION</a:t>
            </a: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86725" y="6424613"/>
            <a:ext cx="482600" cy="234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rgbClr val="596169"/>
                </a:solidFill>
              </a:defRPr>
            </a:lvl1pPr>
          </a:lstStyle>
          <a:p>
            <a:pPr defTabSz="914400" eaLnBrk="1" hangingPunct="1">
              <a:defRPr/>
            </a:pPr>
            <a:r>
              <a:rPr lang="en-US">
                <a:latin typeface="Arial" charset="0"/>
                <a:ea typeface="+mn-ea"/>
              </a:rPr>
              <a:t>|</a:t>
            </a:r>
            <a:r>
              <a:rPr lang="en-US" sz="900" baseline="16000">
                <a:latin typeface="Arial" charset="0"/>
                <a:ea typeface="+mn-ea"/>
              </a:rPr>
              <a:t>        </a:t>
            </a:r>
            <a:fld id="{CCEB65C5-0701-4261-8124-72F32AA3B9C2}" type="slidenum">
              <a:rPr lang="en-US">
                <a:latin typeface="Arial" charset="0"/>
                <a:ea typeface="+mn-ea"/>
              </a:rPr>
              <a:pPr defTabSz="914400" eaLnBrk="1" hangingPunct="1">
                <a:defRPr/>
              </a:pPr>
              <a:t>‹#›</a:t>
            </a:fld>
            <a:endParaRPr lang="en-US">
              <a:latin typeface="Arial" charset="0"/>
              <a:ea typeface="+mn-ea"/>
            </a:endParaRPr>
          </a:p>
        </p:txBody>
      </p:sp>
      <p:pic>
        <p:nvPicPr>
          <p:cNvPr id="7" name="Picture 5" descr="C:\Users\I0143074\Desktop\Logo-Sanofi-CHC-rvb-HD.png"/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472" y="6219372"/>
            <a:ext cx="2246736" cy="33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6930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15874" r:id="rId1"/>
    <p:sldLayoutId id="2147515875" r:id="rId2"/>
    <p:sldLayoutId id="2147515876" r:id="rId3"/>
    <p:sldLayoutId id="2147515877" r:id="rId4"/>
    <p:sldLayoutId id="2147515878" r:id="rId5"/>
    <p:sldLayoutId id="2147515879" r:id="rId6"/>
    <p:sldLayoutId id="2147515880" r:id="rId7"/>
    <p:sldLayoutId id="2147515881" r:id="rId8"/>
    <p:sldLayoutId id="2147515882" r:id="rId9"/>
    <p:sldLayoutId id="2147515883" r:id="rId10"/>
    <p:sldLayoutId id="2147515884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67796784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695" name="Diapositive think-cell" r:id="rId15" imgW="270" imgH="270" progId="TCLayout.ActiveDocument.1">
                  <p:embed/>
                </p:oleObj>
              </mc:Choice>
              <mc:Fallback>
                <p:oleObj name="Diapositive think-cell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5984876"/>
            <a:ext cx="9144000" cy="873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93689" y="4"/>
            <a:ext cx="8556625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QUEZ POUR MODIFIER LE STYLE DU TITR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3689" y="1098551"/>
            <a:ext cx="8556625" cy="5026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quez pour modifier les styles du texte du masque</a:t>
            </a:r>
          </a:p>
          <a:p>
            <a:pPr lvl="1"/>
            <a:r>
              <a:rPr lang="en-US" smtClean="0"/>
              <a:t>Deuxième niveau</a:t>
            </a:r>
          </a:p>
          <a:p>
            <a:pPr lvl="2"/>
            <a:r>
              <a:rPr lang="en-US" smtClean="0"/>
              <a:t>Troisième niveau</a:t>
            </a:r>
          </a:p>
          <a:p>
            <a:pPr lvl="3"/>
            <a:r>
              <a:rPr lang="en-US" smtClean="0"/>
              <a:t>Quatrième niveau</a:t>
            </a:r>
          </a:p>
          <a:p>
            <a:pPr lvl="4"/>
            <a:r>
              <a:rPr lang="en-US" smtClean="0"/>
              <a:t>Cinquième niveau</a:t>
            </a: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439150" y="6504017"/>
            <a:ext cx="482600" cy="2349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14400" eaLnBrk="1" hangingPunct="1"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 smtClean="0">
                <a:latin typeface="Arial"/>
              </a:rPr>
              <a:t>|</a:t>
            </a:r>
            <a:r>
              <a:rPr lang="en-US" sz="900" baseline="16000" smtClean="0">
                <a:latin typeface="Arial"/>
              </a:rPr>
              <a:t>        </a:t>
            </a:r>
            <a:fld id="{C8A5DD0B-47B8-4FFF-85E0-6207ABAD9D9D}" type="slidenum">
              <a:rPr lang="en-US" smtClean="0">
                <a:latin typeface="Arial"/>
              </a:rPr>
              <a:pPr/>
              <a:t>‹#›</a:t>
            </a:fld>
            <a:endParaRPr lang="en-US" dirty="0">
              <a:latin typeface="Arial"/>
            </a:endParaRPr>
          </a:p>
        </p:txBody>
      </p:sp>
      <p:pic>
        <p:nvPicPr>
          <p:cNvPr id="1030" name="Picture 5" descr="C:\Users\I0173026\Desktop\Logos\Logo-Sanofi-CHC-rvb-HD.JPG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688" y="6373816"/>
            <a:ext cx="24352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Connecteur droit 2"/>
          <p:cNvCxnSpPr/>
          <p:nvPr userDrawn="1"/>
        </p:nvCxnSpPr>
        <p:spPr>
          <a:xfrm>
            <a:off x="293689" y="6243639"/>
            <a:ext cx="8556625" cy="0"/>
          </a:xfrm>
          <a:prstGeom prst="line">
            <a:avLst/>
          </a:prstGeom>
          <a:ln w="19050">
            <a:solidFill>
              <a:srgbClr val="A5A5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2" name="Groupe 7"/>
          <p:cNvGrpSpPr>
            <a:grpSpLocks/>
          </p:cNvGrpSpPr>
          <p:nvPr userDrawn="1"/>
        </p:nvGrpSpPr>
        <p:grpSpPr bwMode="auto">
          <a:xfrm>
            <a:off x="293689" y="900113"/>
            <a:ext cx="8556625" cy="112712"/>
            <a:chOff x="627063" y="1271848"/>
            <a:chExt cx="7929633" cy="0"/>
          </a:xfrm>
        </p:grpSpPr>
        <p:cxnSp>
          <p:nvCxnSpPr>
            <p:cNvPr id="11" name="Connecteur droit 10"/>
            <p:cNvCxnSpPr/>
            <p:nvPr userDrawn="1"/>
          </p:nvCxnSpPr>
          <p:spPr>
            <a:xfrm>
              <a:off x="627063" y="1271848"/>
              <a:ext cx="2656942" cy="0"/>
            </a:xfrm>
            <a:prstGeom prst="line">
              <a:avLst/>
            </a:prstGeom>
            <a:ln w="28575">
              <a:solidFill>
                <a:srgbClr val="BAA0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 userDrawn="1"/>
          </p:nvCxnSpPr>
          <p:spPr>
            <a:xfrm>
              <a:off x="3263409" y="1271848"/>
              <a:ext cx="2656942" cy="0"/>
            </a:xfrm>
            <a:prstGeom prst="line">
              <a:avLst/>
            </a:prstGeom>
            <a:ln w="28575">
              <a:solidFill>
                <a:srgbClr val="3C419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 userDrawn="1"/>
          </p:nvCxnSpPr>
          <p:spPr>
            <a:xfrm>
              <a:off x="5899754" y="1271848"/>
              <a:ext cx="2656942" cy="0"/>
            </a:xfrm>
            <a:prstGeom prst="line">
              <a:avLst/>
            </a:prstGeom>
            <a:ln w="28575">
              <a:solidFill>
                <a:srgbClr val="ACB2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067620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15886" r:id="rId1"/>
    <p:sldLayoutId id="2147515887" r:id="rId2"/>
    <p:sldLayoutId id="2147515888" r:id="rId3"/>
    <p:sldLayoutId id="2147515889" r:id="rId4"/>
    <p:sldLayoutId id="2147515890" r:id="rId5"/>
    <p:sldLayoutId id="2147515891" r:id="rId6"/>
    <p:sldLayoutId id="2147515892" r:id="rId7"/>
    <p:sldLayoutId id="2147515893" r:id="rId8"/>
    <p:sldLayoutId id="2147515894" r:id="rId9"/>
    <p:sldLayoutId id="2147515895" r:id="rId10"/>
    <p:sldLayoutId id="2147515896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03428152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63" name="Diapositive think-cell" r:id="rId15" imgW="270" imgH="270" progId="TCLayout.ActiveDocument.1">
                  <p:embed/>
                </p:oleObj>
              </mc:Choice>
              <mc:Fallback>
                <p:oleObj name="Diapositive think-cell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5984876"/>
            <a:ext cx="9144000" cy="873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93689" y="4"/>
            <a:ext cx="8556625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QUEZ POUR MODIFIER LE STYLE DU TITR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3689" y="1098551"/>
            <a:ext cx="8556625" cy="5026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quez pour modifier les styles du texte du masque</a:t>
            </a:r>
          </a:p>
          <a:p>
            <a:pPr lvl="1"/>
            <a:r>
              <a:rPr lang="en-US" smtClean="0"/>
              <a:t>Deuxième niveau</a:t>
            </a:r>
          </a:p>
          <a:p>
            <a:pPr lvl="2"/>
            <a:r>
              <a:rPr lang="en-US" smtClean="0"/>
              <a:t>Troisième niveau</a:t>
            </a:r>
          </a:p>
          <a:p>
            <a:pPr lvl="3"/>
            <a:r>
              <a:rPr lang="en-US" smtClean="0"/>
              <a:t>Quatrième niveau</a:t>
            </a:r>
          </a:p>
          <a:p>
            <a:pPr lvl="4"/>
            <a:r>
              <a:rPr lang="en-US" smtClean="0"/>
              <a:t>Cinquième niveau</a:t>
            </a: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439150" y="6504017"/>
            <a:ext cx="482600" cy="2349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14400" eaLnBrk="1" hangingPunct="1"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 smtClean="0">
                <a:latin typeface="Arial"/>
              </a:rPr>
              <a:t>|</a:t>
            </a:r>
            <a:r>
              <a:rPr lang="en-US" sz="900" baseline="16000" smtClean="0">
                <a:latin typeface="Arial"/>
              </a:rPr>
              <a:t>        </a:t>
            </a:r>
            <a:fld id="{C8A5DD0B-47B8-4FFF-85E0-6207ABAD9D9D}" type="slidenum">
              <a:rPr lang="en-US" smtClean="0">
                <a:latin typeface="Arial"/>
              </a:rPr>
              <a:pPr/>
              <a:t>‹#›</a:t>
            </a:fld>
            <a:endParaRPr lang="en-US" dirty="0">
              <a:latin typeface="Arial"/>
            </a:endParaRPr>
          </a:p>
        </p:txBody>
      </p:sp>
      <p:pic>
        <p:nvPicPr>
          <p:cNvPr id="1030" name="Picture 5" descr="C:\Users\I0173026\Desktop\Logos\Logo-Sanofi-CHC-rvb-HD.JPG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688" y="6373816"/>
            <a:ext cx="24352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Connecteur droit 2"/>
          <p:cNvCxnSpPr/>
          <p:nvPr userDrawn="1"/>
        </p:nvCxnSpPr>
        <p:spPr>
          <a:xfrm>
            <a:off x="293689" y="6243639"/>
            <a:ext cx="8556625" cy="0"/>
          </a:xfrm>
          <a:prstGeom prst="line">
            <a:avLst/>
          </a:prstGeom>
          <a:ln w="19050">
            <a:solidFill>
              <a:srgbClr val="A5A5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2" name="Groupe 7"/>
          <p:cNvGrpSpPr>
            <a:grpSpLocks/>
          </p:cNvGrpSpPr>
          <p:nvPr userDrawn="1"/>
        </p:nvGrpSpPr>
        <p:grpSpPr bwMode="auto">
          <a:xfrm>
            <a:off x="293689" y="900113"/>
            <a:ext cx="8556625" cy="112712"/>
            <a:chOff x="627063" y="1271848"/>
            <a:chExt cx="7929633" cy="0"/>
          </a:xfrm>
        </p:grpSpPr>
        <p:cxnSp>
          <p:nvCxnSpPr>
            <p:cNvPr id="11" name="Connecteur droit 10"/>
            <p:cNvCxnSpPr/>
            <p:nvPr userDrawn="1"/>
          </p:nvCxnSpPr>
          <p:spPr>
            <a:xfrm>
              <a:off x="627063" y="1271848"/>
              <a:ext cx="2656942" cy="0"/>
            </a:xfrm>
            <a:prstGeom prst="line">
              <a:avLst/>
            </a:prstGeom>
            <a:ln w="28575">
              <a:solidFill>
                <a:srgbClr val="BAA0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 userDrawn="1"/>
          </p:nvCxnSpPr>
          <p:spPr>
            <a:xfrm>
              <a:off x="3263409" y="1271848"/>
              <a:ext cx="2656942" cy="0"/>
            </a:xfrm>
            <a:prstGeom prst="line">
              <a:avLst/>
            </a:prstGeom>
            <a:ln w="28575">
              <a:solidFill>
                <a:srgbClr val="3C419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 userDrawn="1"/>
          </p:nvCxnSpPr>
          <p:spPr>
            <a:xfrm>
              <a:off x="5899754" y="1271848"/>
              <a:ext cx="2656942" cy="0"/>
            </a:xfrm>
            <a:prstGeom prst="line">
              <a:avLst/>
            </a:prstGeom>
            <a:ln w="28575">
              <a:solidFill>
                <a:srgbClr val="ACB2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766086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15898" r:id="rId1"/>
    <p:sldLayoutId id="2147515899" r:id="rId2"/>
    <p:sldLayoutId id="2147515900" r:id="rId3"/>
    <p:sldLayoutId id="2147515901" r:id="rId4"/>
    <p:sldLayoutId id="2147515902" r:id="rId5"/>
    <p:sldLayoutId id="2147515903" r:id="rId6"/>
    <p:sldLayoutId id="2147515904" r:id="rId7"/>
    <p:sldLayoutId id="2147515905" r:id="rId8"/>
    <p:sldLayoutId id="2147515906" r:id="rId9"/>
    <p:sldLayoutId id="2147515907" r:id="rId10"/>
    <p:sldLayoutId id="2147515908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54857742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83" name="Diapositive think-cell" r:id="rId15" imgW="270" imgH="270" progId="TCLayout.ActiveDocument.1">
                  <p:embed/>
                </p:oleObj>
              </mc:Choice>
              <mc:Fallback>
                <p:oleObj name="Diapositive think-cell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5984876"/>
            <a:ext cx="9144000" cy="873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93689" y="4"/>
            <a:ext cx="8556625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QUEZ POUR MODIFIER LE STYLE DU TITR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3689" y="1098551"/>
            <a:ext cx="8556625" cy="5026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quez pour modifier les styles du texte du masque</a:t>
            </a:r>
          </a:p>
          <a:p>
            <a:pPr lvl="1"/>
            <a:r>
              <a:rPr lang="en-US" smtClean="0"/>
              <a:t>Deuxième niveau</a:t>
            </a:r>
          </a:p>
          <a:p>
            <a:pPr lvl="2"/>
            <a:r>
              <a:rPr lang="en-US" smtClean="0"/>
              <a:t>Troisième niveau</a:t>
            </a:r>
          </a:p>
          <a:p>
            <a:pPr lvl="3"/>
            <a:r>
              <a:rPr lang="en-US" smtClean="0"/>
              <a:t>Quatrième niveau</a:t>
            </a:r>
          </a:p>
          <a:p>
            <a:pPr lvl="4"/>
            <a:r>
              <a:rPr lang="en-US" smtClean="0"/>
              <a:t>Cinquième niveau</a:t>
            </a: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439150" y="6504017"/>
            <a:ext cx="482600" cy="2349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14400" eaLnBrk="1" hangingPunct="1"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 smtClean="0">
                <a:latin typeface="Arial"/>
              </a:rPr>
              <a:t>|</a:t>
            </a:r>
            <a:r>
              <a:rPr lang="en-US" sz="900" baseline="16000" smtClean="0">
                <a:latin typeface="Arial"/>
              </a:rPr>
              <a:t>        </a:t>
            </a:r>
            <a:fld id="{C8A5DD0B-47B8-4FFF-85E0-6207ABAD9D9D}" type="slidenum">
              <a:rPr lang="en-US" smtClean="0">
                <a:latin typeface="Arial"/>
              </a:rPr>
              <a:pPr/>
              <a:t>‹#›</a:t>
            </a:fld>
            <a:endParaRPr lang="en-US" dirty="0">
              <a:latin typeface="Arial"/>
            </a:endParaRPr>
          </a:p>
        </p:txBody>
      </p:sp>
      <p:pic>
        <p:nvPicPr>
          <p:cNvPr id="1030" name="Picture 5" descr="C:\Users\I0173026\Desktop\Logos\Logo-Sanofi-CHC-rvb-HD.JPG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688" y="6373816"/>
            <a:ext cx="24352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Connecteur droit 2"/>
          <p:cNvCxnSpPr/>
          <p:nvPr userDrawn="1"/>
        </p:nvCxnSpPr>
        <p:spPr>
          <a:xfrm>
            <a:off x="293689" y="6243639"/>
            <a:ext cx="8556625" cy="0"/>
          </a:xfrm>
          <a:prstGeom prst="line">
            <a:avLst/>
          </a:prstGeom>
          <a:ln w="19050">
            <a:solidFill>
              <a:srgbClr val="A5A5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2" name="Groupe 7"/>
          <p:cNvGrpSpPr>
            <a:grpSpLocks/>
          </p:cNvGrpSpPr>
          <p:nvPr userDrawn="1"/>
        </p:nvGrpSpPr>
        <p:grpSpPr bwMode="auto">
          <a:xfrm>
            <a:off x="293689" y="900113"/>
            <a:ext cx="8556625" cy="112712"/>
            <a:chOff x="627063" y="1271848"/>
            <a:chExt cx="7929633" cy="0"/>
          </a:xfrm>
        </p:grpSpPr>
        <p:cxnSp>
          <p:nvCxnSpPr>
            <p:cNvPr id="11" name="Connecteur droit 10"/>
            <p:cNvCxnSpPr/>
            <p:nvPr userDrawn="1"/>
          </p:nvCxnSpPr>
          <p:spPr>
            <a:xfrm>
              <a:off x="627063" y="1271848"/>
              <a:ext cx="2656942" cy="0"/>
            </a:xfrm>
            <a:prstGeom prst="line">
              <a:avLst/>
            </a:prstGeom>
            <a:ln w="28575">
              <a:solidFill>
                <a:srgbClr val="BAA0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 userDrawn="1"/>
          </p:nvCxnSpPr>
          <p:spPr>
            <a:xfrm>
              <a:off x="3263409" y="1271848"/>
              <a:ext cx="2656942" cy="0"/>
            </a:xfrm>
            <a:prstGeom prst="line">
              <a:avLst/>
            </a:prstGeom>
            <a:ln w="28575">
              <a:solidFill>
                <a:srgbClr val="3C419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 userDrawn="1"/>
          </p:nvCxnSpPr>
          <p:spPr>
            <a:xfrm>
              <a:off x="5899754" y="1271848"/>
              <a:ext cx="2656942" cy="0"/>
            </a:xfrm>
            <a:prstGeom prst="line">
              <a:avLst/>
            </a:prstGeom>
            <a:ln w="28575">
              <a:solidFill>
                <a:srgbClr val="ACB2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674775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15910" r:id="rId1"/>
    <p:sldLayoutId id="2147515911" r:id="rId2"/>
    <p:sldLayoutId id="2147515912" r:id="rId3"/>
    <p:sldLayoutId id="2147515913" r:id="rId4"/>
    <p:sldLayoutId id="2147515914" r:id="rId5"/>
    <p:sldLayoutId id="2147515915" r:id="rId6"/>
    <p:sldLayoutId id="2147515916" r:id="rId7"/>
    <p:sldLayoutId id="2147515917" r:id="rId8"/>
    <p:sldLayoutId id="2147515918" r:id="rId9"/>
    <p:sldLayoutId id="2147515919" r:id="rId10"/>
    <p:sldLayoutId id="2147515920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874640464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51" name="Diapositive think-cell" r:id="rId15" imgW="270" imgH="270" progId="TCLayout.ActiveDocument.1">
                  <p:embed/>
                </p:oleObj>
              </mc:Choice>
              <mc:Fallback>
                <p:oleObj name="Diapositive think-cell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0" y="5984876"/>
            <a:ext cx="9144000" cy="873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93689" y="4"/>
            <a:ext cx="8556625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QUEZ POUR MODIFIER LE STYLE DU TITR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3689" y="1098551"/>
            <a:ext cx="8556625" cy="5026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quez pour modifier les styles du texte du masque</a:t>
            </a:r>
          </a:p>
          <a:p>
            <a:pPr lvl="1"/>
            <a:r>
              <a:rPr lang="en-US" smtClean="0"/>
              <a:t>Deuxième niveau</a:t>
            </a:r>
          </a:p>
          <a:p>
            <a:pPr lvl="2"/>
            <a:r>
              <a:rPr lang="en-US" smtClean="0"/>
              <a:t>Troisième niveau</a:t>
            </a:r>
          </a:p>
          <a:p>
            <a:pPr lvl="3"/>
            <a:r>
              <a:rPr lang="en-US" smtClean="0"/>
              <a:t>Quatrième niveau</a:t>
            </a:r>
          </a:p>
          <a:p>
            <a:pPr lvl="4"/>
            <a:r>
              <a:rPr lang="en-US" smtClean="0"/>
              <a:t>Cinquième niveau</a:t>
            </a: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439150" y="6504017"/>
            <a:ext cx="482600" cy="2349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14400" eaLnBrk="1" hangingPunct="1"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 smtClean="0">
                <a:latin typeface="Arial"/>
              </a:rPr>
              <a:t>|</a:t>
            </a:r>
            <a:r>
              <a:rPr lang="en-US" sz="900" baseline="16000" smtClean="0">
                <a:latin typeface="Arial"/>
              </a:rPr>
              <a:t>        </a:t>
            </a:r>
            <a:fld id="{C8A5DD0B-47B8-4FFF-85E0-6207ABAD9D9D}" type="slidenum">
              <a:rPr lang="en-US" smtClean="0">
                <a:latin typeface="Arial"/>
              </a:rPr>
              <a:pPr/>
              <a:t>‹#›</a:t>
            </a:fld>
            <a:endParaRPr lang="en-US" dirty="0">
              <a:latin typeface="Arial"/>
            </a:endParaRPr>
          </a:p>
        </p:txBody>
      </p:sp>
      <p:pic>
        <p:nvPicPr>
          <p:cNvPr id="1030" name="Picture 5" descr="C:\Users\I0173026\Desktop\Logos\Logo-Sanofi-CHC-rvb-HD.JPG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688" y="6373816"/>
            <a:ext cx="24352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Connecteur droit 2"/>
          <p:cNvCxnSpPr/>
          <p:nvPr userDrawn="1"/>
        </p:nvCxnSpPr>
        <p:spPr>
          <a:xfrm>
            <a:off x="293689" y="6243639"/>
            <a:ext cx="8556625" cy="0"/>
          </a:xfrm>
          <a:prstGeom prst="line">
            <a:avLst/>
          </a:prstGeom>
          <a:ln w="19050">
            <a:solidFill>
              <a:srgbClr val="A5A5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2" name="Groupe 7"/>
          <p:cNvGrpSpPr>
            <a:grpSpLocks/>
          </p:cNvGrpSpPr>
          <p:nvPr userDrawn="1"/>
        </p:nvGrpSpPr>
        <p:grpSpPr bwMode="auto">
          <a:xfrm>
            <a:off x="293689" y="900113"/>
            <a:ext cx="8556625" cy="112712"/>
            <a:chOff x="627063" y="1271848"/>
            <a:chExt cx="7929633" cy="0"/>
          </a:xfrm>
        </p:grpSpPr>
        <p:cxnSp>
          <p:nvCxnSpPr>
            <p:cNvPr id="11" name="Connecteur droit 10"/>
            <p:cNvCxnSpPr/>
            <p:nvPr userDrawn="1"/>
          </p:nvCxnSpPr>
          <p:spPr>
            <a:xfrm>
              <a:off x="627063" y="1271848"/>
              <a:ext cx="2656942" cy="0"/>
            </a:xfrm>
            <a:prstGeom prst="line">
              <a:avLst/>
            </a:prstGeom>
            <a:ln w="28575">
              <a:solidFill>
                <a:srgbClr val="BAA0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 userDrawn="1"/>
          </p:nvCxnSpPr>
          <p:spPr>
            <a:xfrm>
              <a:off x="3263409" y="1271848"/>
              <a:ext cx="2656942" cy="0"/>
            </a:xfrm>
            <a:prstGeom prst="line">
              <a:avLst/>
            </a:prstGeom>
            <a:ln w="28575">
              <a:solidFill>
                <a:srgbClr val="3C419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 userDrawn="1"/>
          </p:nvCxnSpPr>
          <p:spPr>
            <a:xfrm>
              <a:off x="5899754" y="1271848"/>
              <a:ext cx="2656942" cy="0"/>
            </a:xfrm>
            <a:prstGeom prst="line">
              <a:avLst/>
            </a:prstGeom>
            <a:ln w="28575">
              <a:solidFill>
                <a:srgbClr val="ACB2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92945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15922" r:id="rId1"/>
    <p:sldLayoutId id="2147515923" r:id="rId2"/>
    <p:sldLayoutId id="2147515924" r:id="rId3"/>
    <p:sldLayoutId id="2147515925" r:id="rId4"/>
    <p:sldLayoutId id="2147515926" r:id="rId5"/>
    <p:sldLayoutId id="2147515927" r:id="rId6"/>
    <p:sldLayoutId id="2147515928" r:id="rId7"/>
    <p:sldLayoutId id="2147515929" r:id="rId8"/>
    <p:sldLayoutId id="2147515930" r:id="rId9"/>
    <p:sldLayoutId id="2147515931" r:id="rId10"/>
    <p:sldLayoutId id="2147515932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8000" y="2916920"/>
            <a:ext cx="1312200" cy="19389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/>
              <a:t>Tit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77067" y="1825625"/>
            <a:ext cx="5738282" cy="18420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GB" noProof="0"/>
              <a:t>Text level 1</a:t>
            </a:r>
            <a:endParaRPr lang="en-GB" noProof="0" dirty="0"/>
          </a:p>
          <a:p>
            <a:pPr lvl="1"/>
            <a:r>
              <a:rPr lang="en-GB" noProof="0"/>
              <a:t>Text level 2</a:t>
            </a:r>
            <a:endParaRPr lang="en-GB" noProof="0" dirty="0"/>
          </a:p>
          <a:p>
            <a:pPr lvl="2"/>
            <a:r>
              <a:rPr lang="en-GB" noProof="0"/>
              <a:t>Text level 3</a:t>
            </a:r>
            <a:endParaRPr lang="en-GB" noProof="0" dirty="0"/>
          </a:p>
          <a:p>
            <a:pPr lvl="3"/>
            <a:r>
              <a:rPr lang="en-GB" noProof="0"/>
              <a:t>Text level 4</a:t>
            </a:r>
            <a:endParaRPr lang="en-GB" noProof="0" dirty="0"/>
          </a:p>
          <a:p>
            <a:pPr lvl="4"/>
            <a:r>
              <a:rPr lang="en-GB" noProof="0"/>
              <a:t>Text level 5</a:t>
            </a:r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72126" y="6356351"/>
            <a:ext cx="30861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 cap="all" baseline="0">
                <a:solidFill>
                  <a:schemeClr val="tx1"/>
                </a:solidFill>
              </a:defRPr>
            </a:lvl1pPr>
          </a:lstStyle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646464"/>
                </a:solidFill>
                <a:latin typeface="Arial" panose="020B0604020202020204"/>
                <a:ea typeface="+mn-ea"/>
              </a:rPr>
              <a:t>Corporate presentation 2015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3012" y="6356351"/>
            <a:ext cx="2809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fld id="{12449E3F-F7A8-47F1-A579-B94246E0A518}" type="slidenum">
              <a:rPr lang="en-GB" smtClean="0">
                <a:solidFill>
                  <a:srgbClr val="646464"/>
                </a:solidFill>
                <a:latin typeface="Arial" panose="020B0604020202020204"/>
                <a:ea typeface="+mn-ea"/>
              </a:rPr>
              <a:pPr defTabSz="91440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646464"/>
              </a:solidFill>
              <a:latin typeface="Arial" panose="020B0604020202020204"/>
              <a:ea typeface="+mn-ea"/>
            </a:endParaRP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2155" y="6320802"/>
            <a:ext cx="1142775" cy="244880"/>
          </a:xfrm>
          <a:prstGeom prst="rect">
            <a:avLst/>
          </a:prstGeom>
        </p:spPr>
      </p:pic>
      <p:cxnSp>
        <p:nvCxnSpPr>
          <p:cNvPr id="10" name="Connecteur droit 9"/>
          <p:cNvCxnSpPr/>
          <p:nvPr/>
        </p:nvCxnSpPr>
        <p:spPr>
          <a:xfrm>
            <a:off x="8765381" y="6320802"/>
            <a:ext cx="0" cy="18715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11"/>
          <p:cNvCxnSpPr/>
          <p:nvPr/>
        </p:nvCxnSpPr>
        <p:spPr>
          <a:xfrm>
            <a:off x="0" y="6030000"/>
            <a:ext cx="914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8772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15696" r:id="rId1"/>
    <p:sldLayoutId id="2147515697" r:id="rId2"/>
    <p:sldLayoutId id="2147515698" r:id="rId3"/>
    <p:sldLayoutId id="2147515699" r:id="rId4"/>
    <p:sldLayoutId id="2147515700" r:id="rId5"/>
    <p:sldLayoutId id="2147515701" r:id="rId6"/>
    <p:sldLayoutId id="2147515702" r:id="rId7"/>
    <p:sldLayoutId id="2147515703" r:id="rId8"/>
    <p:sldLayoutId id="2147515704" r:id="rId9"/>
    <p:sldLayoutId id="2147515705" r:id="rId10"/>
    <p:sldLayoutId id="2147515706" r:id="rId11"/>
    <p:sldLayoutId id="2147515707" r:id="rId12"/>
    <p:sldLayoutId id="2147515708" r:id="rId1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4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18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00000"/>
        </a:lnSpc>
        <a:spcBef>
          <a:spcPts val="14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797" userDrawn="1">
          <p15:clr>
            <a:srgbClr val="F26B43"/>
          </p15:clr>
        </p15:guide>
        <p15:guide id="2" pos="1099" userDrawn="1">
          <p15:clr>
            <a:srgbClr val="F26B43"/>
          </p15:clr>
        </p15:guide>
      </p15:sldGuideLst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1262017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71" name="think-cell Folie" r:id="rId16" imgW="360" imgH="360" progId="TCLayout.ActiveDocument.1">
                  <p:embed/>
                </p:oleObj>
              </mc:Choice>
              <mc:Fallback>
                <p:oleObj name="think-cell Folie" r:id="rId1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5984875"/>
            <a:ext cx="9144000" cy="873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93688" y="0"/>
            <a:ext cx="8556625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 STYLE DU TITR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3688" y="1098550"/>
            <a:ext cx="8556625" cy="5026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s styles du texte du masque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38226" y="6503988"/>
            <a:ext cx="629549" cy="234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14400" eaLnBrk="1" hangingPunct="1"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030" name="Picture 5" descr="C:\Users\I0173026\Desktop\Logos\Logo-Sanofi-CHC-rvb-HD.JPG"/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3688" y="6373813"/>
            <a:ext cx="24352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Connecteur droit 2"/>
          <p:cNvCxnSpPr/>
          <p:nvPr/>
        </p:nvCxnSpPr>
        <p:spPr>
          <a:xfrm>
            <a:off x="293688" y="6243638"/>
            <a:ext cx="8556625" cy="0"/>
          </a:xfrm>
          <a:prstGeom prst="line">
            <a:avLst/>
          </a:prstGeom>
          <a:ln w="19050">
            <a:solidFill>
              <a:srgbClr val="A5A5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2" name="Groupe 7"/>
          <p:cNvGrpSpPr>
            <a:grpSpLocks/>
          </p:cNvGrpSpPr>
          <p:nvPr/>
        </p:nvGrpSpPr>
        <p:grpSpPr bwMode="auto">
          <a:xfrm>
            <a:off x="293688" y="900113"/>
            <a:ext cx="8556625" cy="112712"/>
            <a:chOff x="627063" y="1271848"/>
            <a:chExt cx="7929633" cy="0"/>
          </a:xfrm>
        </p:grpSpPr>
        <p:cxnSp>
          <p:nvCxnSpPr>
            <p:cNvPr id="11" name="Connecteur droit 10"/>
            <p:cNvCxnSpPr/>
            <p:nvPr userDrawn="1"/>
          </p:nvCxnSpPr>
          <p:spPr>
            <a:xfrm>
              <a:off x="627063" y="1271848"/>
              <a:ext cx="2656942" cy="0"/>
            </a:xfrm>
            <a:prstGeom prst="line">
              <a:avLst/>
            </a:prstGeom>
            <a:ln w="28575">
              <a:solidFill>
                <a:srgbClr val="BAA0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 userDrawn="1"/>
          </p:nvCxnSpPr>
          <p:spPr>
            <a:xfrm>
              <a:off x="3263409" y="1271848"/>
              <a:ext cx="2656942" cy="0"/>
            </a:xfrm>
            <a:prstGeom prst="line">
              <a:avLst/>
            </a:prstGeom>
            <a:ln w="28575">
              <a:solidFill>
                <a:srgbClr val="3C419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 userDrawn="1"/>
          </p:nvCxnSpPr>
          <p:spPr>
            <a:xfrm>
              <a:off x="5899754" y="1271848"/>
              <a:ext cx="2656942" cy="0"/>
            </a:xfrm>
            <a:prstGeom prst="line">
              <a:avLst/>
            </a:prstGeom>
            <a:ln w="28575">
              <a:solidFill>
                <a:srgbClr val="ACB2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281477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15934" r:id="rId1"/>
    <p:sldLayoutId id="2147515935" r:id="rId2"/>
    <p:sldLayoutId id="2147515936" r:id="rId3"/>
    <p:sldLayoutId id="2147515937" r:id="rId4"/>
    <p:sldLayoutId id="2147515938" r:id="rId5"/>
    <p:sldLayoutId id="2147515939" r:id="rId6"/>
    <p:sldLayoutId id="2147515940" r:id="rId7"/>
    <p:sldLayoutId id="2147515941" r:id="rId8"/>
    <p:sldLayoutId id="2147515942" r:id="rId9"/>
    <p:sldLayoutId id="2147515943" r:id="rId10"/>
    <p:sldLayoutId id="2147515944" r:id="rId11"/>
    <p:sldLayoutId id="2147515945" r:id="rId12"/>
  </p:sldLayoutIdLst>
  <p:transition>
    <p:fade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0959774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31" name="think-cell Folie" r:id="rId16" imgW="360" imgH="360" progId="TCLayout.ActiveDocument.1">
                  <p:embed/>
                </p:oleObj>
              </mc:Choice>
              <mc:Fallback>
                <p:oleObj name="think-cell Folie" r:id="rId1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5984875"/>
            <a:ext cx="9144000" cy="873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93688" y="0"/>
            <a:ext cx="8556625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 STYLE DU TITR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3688" y="1098550"/>
            <a:ext cx="8556625" cy="5026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s styles du texte du masque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38226" y="6503988"/>
            <a:ext cx="629549" cy="234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14400" eaLnBrk="1" hangingPunct="1"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030" name="Picture 5" descr="C:\Users\I0173026\Desktop\Logos\Logo-Sanofi-CHC-rvb-HD.JPG"/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3688" y="6373813"/>
            <a:ext cx="24352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Connecteur droit 2"/>
          <p:cNvCxnSpPr/>
          <p:nvPr/>
        </p:nvCxnSpPr>
        <p:spPr>
          <a:xfrm>
            <a:off x="293688" y="6243638"/>
            <a:ext cx="8556625" cy="0"/>
          </a:xfrm>
          <a:prstGeom prst="line">
            <a:avLst/>
          </a:prstGeom>
          <a:ln w="19050">
            <a:solidFill>
              <a:srgbClr val="A5A5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2" name="Groupe 7"/>
          <p:cNvGrpSpPr>
            <a:grpSpLocks/>
          </p:cNvGrpSpPr>
          <p:nvPr/>
        </p:nvGrpSpPr>
        <p:grpSpPr bwMode="auto">
          <a:xfrm>
            <a:off x="293688" y="900113"/>
            <a:ext cx="8556625" cy="112712"/>
            <a:chOff x="627063" y="1271848"/>
            <a:chExt cx="7929633" cy="0"/>
          </a:xfrm>
        </p:grpSpPr>
        <p:cxnSp>
          <p:nvCxnSpPr>
            <p:cNvPr id="11" name="Connecteur droit 10"/>
            <p:cNvCxnSpPr/>
            <p:nvPr userDrawn="1"/>
          </p:nvCxnSpPr>
          <p:spPr>
            <a:xfrm>
              <a:off x="627063" y="1271848"/>
              <a:ext cx="2656942" cy="0"/>
            </a:xfrm>
            <a:prstGeom prst="line">
              <a:avLst/>
            </a:prstGeom>
            <a:ln w="28575">
              <a:solidFill>
                <a:srgbClr val="BAA0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 userDrawn="1"/>
          </p:nvCxnSpPr>
          <p:spPr>
            <a:xfrm>
              <a:off x="3263409" y="1271848"/>
              <a:ext cx="2656942" cy="0"/>
            </a:xfrm>
            <a:prstGeom prst="line">
              <a:avLst/>
            </a:prstGeom>
            <a:ln w="28575">
              <a:solidFill>
                <a:srgbClr val="3C419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 userDrawn="1"/>
          </p:nvCxnSpPr>
          <p:spPr>
            <a:xfrm>
              <a:off x="5899754" y="1271848"/>
              <a:ext cx="2656942" cy="0"/>
            </a:xfrm>
            <a:prstGeom prst="line">
              <a:avLst/>
            </a:prstGeom>
            <a:ln w="28575">
              <a:solidFill>
                <a:srgbClr val="ACB2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121465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15947" r:id="rId1"/>
    <p:sldLayoutId id="2147515948" r:id="rId2"/>
    <p:sldLayoutId id="2147515949" r:id="rId3"/>
    <p:sldLayoutId id="2147515950" r:id="rId4"/>
    <p:sldLayoutId id="2147515951" r:id="rId5"/>
    <p:sldLayoutId id="2147515952" r:id="rId6"/>
    <p:sldLayoutId id="2147515953" r:id="rId7"/>
    <p:sldLayoutId id="2147515954" r:id="rId8"/>
    <p:sldLayoutId id="2147515955" r:id="rId9"/>
    <p:sldLayoutId id="2147515956" r:id="rId10"/>
    <p:sldLayoutId id="2147515957" r:id="rId11"/>
    <p:sldLayoutId id="2147515958" r:id="rId12"/>
  </p:sldLayoutIdLst>
  <p:transition>
    <p:fade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0429539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703" name="think-cell Folie" r:id="rId16" imgW="360" imgH="360" progId="TCLayout.ActiveDocument.1">
                  <p:embed/>
                </p:oleObj>
              </mc:Choice>
              <mc:Fallback>
                <p:oleObj name="think-cell Folie" r:id="rId1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5984875"/>
            <a:ext cx="9144000" cy="873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93688" y="0"/>
            <a:ext cx="8556625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 STYLE DU TITR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3688" y="1098550"/>
            <a:ext cx="8556625" cy="5026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s styles du texte du masque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38226" y="6503988"/>
            <a:ext cx="629549" cy="234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14400" eaLnBrk="1" hangingPunct="1"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030" name="Picture 5" descr="C:\Users\I0173026\Desktop\Logos\Logo-Sanofi-CHC-rvb-HD.JPG"/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3688" y="6373813"/>
            <a:ext cx="24352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Connecteur droit 2"/>
          <p:cNvCxnSpPr/>
          <p:nvPr/>
        </p:nvCxnSpPr>
        <p:spPr>
          <a:xfrm>
            <a:off x="293688" y="6243638"/>
            <a:ext cx="8556625" cy="0"/>
          </a:xfrm>
          <a:prstGeom prst="line">
            <a:avLst/>
          </a:prstGeom>
          <a:ln w="19050">
            <a:solidFill>
              <a:srgbClr val="A5A5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2" name="Groupe 7"/>
          <p:cNvGrpSpPr>
            <a:grpSpLocks/>
          </p:cNvGrpSpPr>
          <p:nvPr/>
        </p:nvGrpSpPr>
        <p:grpSpPr bwMode="auto">
          <a:xfrm>
            <a:off x="293688" y="900113"/>
            <a:ext cx="8556625" cy="112712"/>
            <a:chOff x="627063" y="1271848"/>
            <a:chExt cx="7929633" cy="0"/>
          </a:xfrm>
        </p:grpSpPr>
        <p:cxnSp>
          <p:nvCxnSpPr>
            <p:cNvPr id="11" name="Connecteur droit 10"/>
            <p:cNvCxnSpPr/>
            <p:nvPr userDrawn="1"/>
          </p:nvCxnSpPr>
          <p:spPr>
            <a:xfrm>
              <a:off x="627063" y="1271848"/>
              <a:ext cx="2656942" cy="0"/>
            </a:xfrm>
            <a:prstGeom prst="line">
              <a:avLst/>
            </a:prstGeom>
            <a:ln w="28575">
              <a:solidFill>
                <a:srgbClr val="BAA0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 userDrawn="1"/>
          </p:nvCxnSpPr>
          <p:spPr>
            <a:xfrm>
              <a:off x="3263409" y="1271848"/>
              <a:ext cx="2656942" cy="0"/>
            </a:xfrm>
            <a:prstGeom prst="line">
              <a:avLst/>
            </a:prstGeom>
            <a:ln w="28575">
              <a:solidFill>
                <a:srgbClr val="3C419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 userDrawn="1"/>
          </p:nvCxnSpPr>
          <p:spPr>
            <a:xfrm>
              <a:off x="5899754" y="1271848"/>
              <a:ext cx="2656942" cy="0"/>
            </a:xfrm>
            <a:prstGeom prst="line">
              <a:avLst/>
            </a:prstGeom>
            <a:ln w="28575">
              <a:solidFill>
                <a:srgbClr val="ACB2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025567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15960" r:id="rId1"/>
    <p:sldLayoutId id="2147515961" r:id="rId2"/>
    <p:sldLayoutId id="2147515962" r:id="rId3"/>
    <p:sldLayoutId id="2147515963" r:id="rId4"/>
    <p:sldLayoutId id="2147515964" r:id="rId5"/>
    <p:sldLayoutId id="2147515965" r:id="rId6"/>
    <p:sldLayoutId id="2147515966" r:id="rId7"/>
    <p:sldLayoutId id="2147515967" r:id="rId8"/>
    <p:sldLayoutId id="2147515968" r:id="rId9"/>
    <p:sldLayoutId id="2147515969" r:id="rId10"/>
    <p:sldLayoutId id="2147515970" r:id="rId11"/>
    <p:sldLayoutId id="2147515971" r:id="rId12"/>
  </p:sldLayoutIdLst>
  <p:transition>
    <p:fade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8482929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75" name="think-cell Folie" r:id="rId16" imgW="360" imgH="360" progId="TCLayout.ActiveDocument.1">
                  <p:embed/>
                </p:oleObj>
              </mc:Choice>
              <mc:Fallback>
                <p:oleObj name="think-cell Folie" r:id="rId1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5984875"/>
            <a:ext cx="9144000" cy="873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93688" y="0"/>
            <a:ext cx="8556625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 STYLE DU TITR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3688" y="1098550"/>
            <a:ext cx="8556625" cy="5026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s styles du texte du masque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38226" y="6503988"/>
            <a:ext cx="629549" cy="234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14400" eaLnBrk="1" hangingPunct="1"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030" name="Picture 5" descr="C:\Users\I0173026\Desktop\Logos\Logo-Sanofi-CHC-rvb-HD.JPG"/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3688" y="6373813"/>
            <a:ext cx="24352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Connecteur droit 2"/>
          <p:cNvCxnSpPr/>
          <p:nvPr/>
        </p:nvCxnSpPr>
        <p:spPr>
          <a:xfrm>
            <a:off x="293688" y="6243638"/>
            <a:ext cx="8556625" cy="0"/>
          </a:xfrm>
          <a:prstGeom prst="line">
            <a:avLst/>
          </a:prstGeom>
          <a:ln w="19050">
            <a:solidFill>
              <a:srgbClr val="A5A5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2" name="Groupe 7"/>
          <p:cNvGrpSpPr>
            <a:grpSpLocks/>
          </p:cNvGrpSpPr>
          <p:nvPr/>
        </p:nvGrpSpPr>
        <p:grpSpPr bwMode="auto">
          <a:xfrm>
            <a:off x="293688" y="900113"/>
            <a:ext cx="8556625" cy="112712"/>
            <a:chOff x="627063" y="1271848"/>
            <a:chExt cx="7929633" cy="0"/>
          </a:xfrm>
        </p:grpSpPr>
        <p:cxnSp>
          <p:nvCxnSpPr>
            <p:cNvPr id="11" name="Connecteur droit 10"/>
            <p:cNvCxnSpPr/>
            <p:nvPr userDrawn="1"/>
          </p:nvCxnSpPr>
          <p:spPr>
            <a:xfrm>
              <a:off x="627063" y="1271848"/>
              <a:ext cx="2656942" cy="0"/>
            </a:xfrm>
            <a:prstGeom prst="line">
              <a:avLst/>
            </a:prstGeom>
            <a:ln w="28575">
              <a:solidFill>
                <a:srgbClr val="BAA0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 userDrawn="1"/>
          </p:nvCxnSpPr>
          <p:spPr>
            <a:xfrm>
              <a:off x="3263409" y="1271848"/>
              <a:ext cx="2656942" cy="0"/>
            </a:xfrm>
            <a:prstGeom prst="line">
              <a:avLst/>
            </a:prstGeom>
            <a:ln w="28575">
              <a:solidFill>
                <a:srgbClr val="3C419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 userDrawn="1"/>
          </p:nvCxnSpPr>
          <p:spPr>
            <a:xfrm>
              <a:off x="5899754" y="1271848"/>
              <a:ext cx="2656942" cy="0"/>
            </a:xfrm>
            <a:prstGeom prst="line">
              <a:avLst/>
            </a:prstGeom>
            <a:ln w="28575">
              <a:solidFill>
                <a:srgbClr val="ACB2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242656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15973" r:id="rId1"/>
    <p:sldLayoutId id="2147515974" r:id="rId2"/>
    <p:sldLayoutId id="2147515975" r:id="rId3"/>
    <p:sldLayoutId id="2147515976" r:id="rId4"/>
    <p:sldLayoutId id="2147515977" r:id="rId5"/>
    <p:sldLayoutId id="2147515978" r:id="rId6"/>
    <p:sldLayoutId id="2147515979" r:id="rId7"/>
    <p:sldLayoutId id="2147515980" r:id="rId8"/>
    <p:sldLayoutId id="2147515981" r:id="rId9"/>
    <p:sldLayoutId id="2147515982" r:id="rId10"/>
    <p:sldLayoutId id="2147515983" r:id="rId11"/>
    <p:sldLayoutId id="2147515984" r:id="rId12"/>
  </p:sldLayoutIdLst>
  <p:transition>
    <p:fade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0451191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47" name="think-cell Folie" r:id="rId16" imgW="360" imgH="360" progId="TCLayout.ActiveDocument.1">
                  <p:embed/>
                </p:oleObj>
              </mc:Choice>
              <mc:Fallback>
                <p:oleObj name="think-cell Folie" r:id="rId1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5984875"/>
            <a:ext cx="9144000" cy="873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93688" y="0"/>
            <a:ext cx="8556625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 STYLE DU TITR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3688" y="1098550"/>
            <a:ext cx="8556625" cy="5026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s styles du texte du masque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38226" y="6503988"/>
            <a:ext cx="629549" cy="234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14400" eaLnBrk="1" hangingPunct="1"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030" name="Picture 5" descr="C:\Users\I0173026\Desktop\Logos\Logo-Sanofi-CHC-rvb-HD.JPG"/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3688" y="6373813"/>
            <a:ext cx="24352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Connecteur droit 2"/>
          <p:cNvCxnSpPr/>
          <p:nvPr/>
        </p:nvCxnSpPr>
        <p:spPr>
          <a:xfrm>
            <a:off x="293688" y="6243638"/>
            <a:ext cx="8556625" cy="0"/>
          </a:xfrm>
          <a:prstGeom prst="line">
            <a:avLst/>
          </a:prstGeom>
          <a:ln w="19050">
            <a:solidFill>
              <a:srgbClr val="A5A5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2" name="Groupe 7"/>
          <p:cNvGrpSpPr>
            <a:grpSpLocks/>
          </p:cNvGrpSpPr>
          <p:nvPr/>
        </p:nvGrpSpPr>
        <p:grpSpPr bwMode="auto">
          <a:xfrm>
            <a:off x="293688" y="900113"/>
            <a:ext cx="8556625" cy="112712"/>
            <a:chOff x="627063" y="1271848"/>
            <a:chExt cx="7929633" cy="0"/>
          </a:xfrm>
        </p:grpSpPr>
        <p:cxnSp>
          <p:nvCxnSpPr>
            <p:cNvPr id="11" name="Connecteur droit 10"/>
            <p:cNvCxnSpPr/>
            <p:nvPr userDrawn="1"/>
          </p:nvCxnSpPr>
          <p:spPr>
            <a:xfrm>
              <a:off x="627063" y="1271848"/>
              <a:ext cx="2656942" cy="0"/>
            </a:xfrm>
            <a:prstGeom prst="line">
              <a:avLst/>
            </a:prstGeom>
            <a:ln w="28575">
              <a:solidFill>
                <a:srgbClr val="BAA0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 userDrawn="1"/>
          </p:nvCxnSpPr>
          <p:spPr>
            <a:xfrm>
              <a:off x="3263409" y="1271848"/>
              <a:ext cx="2656942" cy="0"/>
            </a:xfrm>
            <a:prstGeom prst="line">
              <a:avLst/>
            </a:prstGeom>
            <a:ln w="28575">
              <a:solidFill>
                <a:srgbClr val="3C419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 userDrawn="1"/>
          </p:nvCxnSpPr>
          <p:spPr>
            <a:xfrm>
              <a:off x="5899754" y="1271848"/>
              <a:ext cx="2656942" cy="0"/>
            </a:xfrm>
            <a:prstGeom prst="line">
              <a:avLst/>
            </a:prstGeom>
            <a:ln w="28575">
              <a:solidFill>
                <a:srgbClr val="ACB2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68979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15986" r:id="rId1"/>
    <p:sldLayoutId id="2147515987" r:id="rId2"/>
    <p:sldLayoutId id="2147515988" r:id="rId3"/>
    <p:sldLayoutId id="2147515989" r:id="rId4"/>
    <p:sldLayoutId id="2147515990" r:id="rId5"/>
    <p:sldLayoutId id="2147515991" r:id="rId6"/>
    <p:sldLayoutId id="2147515992" r:id="rId7"/>
    <p:sldLayoutId id="2147515993" r:id="rId8"/>
    <p:sldLayoutId id="2147515994" r:id="rId9"/>
    <p:sldLayoutId id="2147515995" r:id="rId10"/>
    <p:sldLayoutId id="2147515996" r:id="rId11"/>
    <p:sldLayoutId id="2147515997" r:id="rId12"/>
  </p:sldLayoutIdLst>
  <p:transition>
    <p:fade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9655587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918" name="think-cell Folie" r:id="rId16" imgW="360" imgH="360" progId="TCLayout.ActiveDocument.1">
                  <p:embed/>
                </p:oleObj>
              </mc:Choice>
              <mc:Fallback>
                <p:oleObj name="think-cell Folie" r:id="rId1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5984875"/>
            <a:ext cx="9144000" cy="873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93688" y="0"/>
            <a:ext cx="8556625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 STYLE DU TITR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3688" y="1098550"/>
            <a:ext cx="8556625" cy="5026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s styles du texte du masque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38226" y="6503988"/>
            <a:ext cx="629549" cy="234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14400" eaLnBrk="1" hangingPunct="1"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030" name="Picture 5" descr="C:\Users\I0173026\Desktop\Logos\Logo-Sanofi-CHC-rvb-HD.JPG"/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3688" y="6373813"/>
            <a:ext cx="24352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Connecteur droit 2"/>
          <p:cNvCxnSpPr/>
          <p:nvPr/>
        </p:nvCxnSpPr>
        <p:spPr>
          <a:xfrm>
            <a:off x="293688" y="6243638"/>
            <a:ext cx="8556625" cy="0"/>
          </a:xfrm>
          <a:prstGeom prst="line">
            <a:avLst/>
          </a:prstGeom>
          <a:ln w="19050">
            <a:solidFill>
              <a:srgbClr val="A5A5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2" name="Groupe 7"/>
          <p:cNvGrpSpPr>
            <a:grpSpLocks/>
          </p:cNvGrpSpPr>
          <p:nvPr/>
        </p:nvGrpSpPr>
        <p:grpSpPr bwMode="auto">
          <a:xfrm>
            <a:off x="293688" y="900113"/>
            <a:ext cx="8556625" cy="112712"/>
            <a:chOff x="627063" y="1271848"/>
            <a:chExt cx="7929633" cy="0"/>
          </a:xfrm>
        </p:grpSpPr>
        <p:cxnSp>
          <p:nvCxnSpPr>
            <p:cNvPr id="11" name="Connecteur droit 10"/>
            <p:cNvCxnSpPr/>
            <p:nvPr userDrawn="1"/>
          </p:nvCxnSpPr>
          <p:spPr>
            <a:xfrm>
              <a:off x="627063" y="1271848"/>
              <a:ext cx="2656942" cy="0"/>
            </a:xfrm>
            <a:prstGeom prst="line">
              <a:avLst/>
            </a:prstGeom>
            <a:ln w="28575">
              <a:solidFill>
                <a:srgbClr val="BAA0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 userDrawn="1"/>
          </p:nvCxnSpPr>
          <p:spPr>
            <a:xfrm>
              <a:off x="3263409" y="1271848"/>
              <a:ext cx="2656942" cy="0"/>
            </a:xfrm>
            <a:prstGeom prst="line">
              <a:avLst/>
            </a:prstGeom>
            <a:ln w="28575">
              <a:solidFill>
                <a:srgbClr val="3C419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 userDrawn="1"/>
          </p:nvCxnSpPr>
          <p:spPr>
            <a:xfrm>
              <a:off x="5899754" y="1271848"/>
              <a:ext cx="2656942" cy="0"/>
            </a:xfrm>
            <a:prstGeom prst="line">
              <a:avLst/>
            </a:prstGeom>
            <a:ln w="28575">
              <a:solidFill>
                <a:srgbClr val="ACB2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992582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15999" r:id="rId1"/>
    <p:sldLayoutId id="2147516000" r:id="rId2"/>
    <p:sldLayoutId id="2147516001" r:id="rId3"/>
    <p:sldLayoutId id="2147516002" r:id="rId4"/>
    <p:sldLayoutId id="2147516003" r:id="rId5"/>
    <p:sldLayoutId id="2147516004" r:id="rId6"/>
    <p:sldLayoutId id="2147516005" r:id="rId7"/>
    <p:sldLayoutId id="2147516006" r:id="rId8"/>
    <p:sldLayoutId id="2147516007" r:id="rId9"/>
    <p:sldLayoutId id="2147516008" r:id="rId10"/>
    <p:sldLayoutId id="2147516009" r:id="rId11"/>
    <p:sldLayoutId id="2147516010" r:id="rId12"/>
  </p:sldLayoutIdLst>
  <p:transition>
    <p:fade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8762302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86" name="think-cell Folie" r:id="rId17" imgW="360" imgH="360" progId="TCLayout.ActiveDocument.1">
                  <p:embed/>
                </p:oleObj>
              </mc:Choice>
              <mc:Fallback>
                <p:oleObj name="think-cell Folie" r:id="rId17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5984875"/>
            <a:ext cx="9144000" cy="873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93688" y="0"/>
            <a:ext cx="8556625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 STYLE DU TITR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3688" y="1098550"/>
            <a:ext cx="8556625" cy="5026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s styles du texte du masque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38226" y="6503988"/>
            <a:ext cx="629549" cy="234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14400" eaLnBrk="1" hangingPunct="1"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030" name="Picture 5" descr="C:\Users\I0173026\Desktop\Logos\Logo-Sanofi-CHC-rvb-HD.JPG"/>
          <p:cNvPicPr>
            <a:picLocks noChangeAspect="1" noChangeArrowheads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3688" y="6373813"/>
            <a:ext cx="24352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Connecteur droit 2"/>
          <p:cNvCxnSpPr/>
          <p:nvPr/>
        </p:nvCxnSpPr>
        <p:spPr>
          <a:xfrm>
            <a:off x="293688" y="6243638"/>
            <a:ext cx="8556625" cy="0"/>
          </a:xfrm>
          <a:prstGeom prst="line">
            <a:avLst/>
          </a:prstGeom>
          <a:ln w="19050">
            <a:solidFill>
              <a:srgbClr val="A5A5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2" name="Groupe 7"/>
          <p:cNvGrpSpPr>
            <a:grpSpLocks/>
          </p:cNvGrpSpPr>
          <p:nvPr/>
        </p:nvGrpSpPr>
        <p:grpSpPr bwMode="auto">
          <a:xfrm>
            <a:off x="293688" y="900113"/>
            <a:ext cx="8556625" cy="112712"/>
            <a:chOff x="627063" y="1271848"/>
            <a:chExt cx="7929633" cy="0"/>
          </a:xfrm>
        </p:grpSpPr>
        <p:cxnSp>
          <p:nvCxnSpPr>
            <p:cNvPr id="11" name="Connecteur droit 10"/>
            <p:cNvCxnSpPr/>
            <p:nvPr userDrawn="1"/>
          </p:nvCxnSpPr>
          <p:spPr>
            <a:xfrm>
              <a:off x="627063" y="1271848"/>
              <a:ext cx="2656942" cy="0"/>
            </a:xfrm>
            <a:prstGeom prst="line">
              <a:avLst/>
            </a:prstGeom>
            <a:ln w="28575">
              <a:solidFill>
                <a:srgbClr val="BAA0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 userDrawn="1"/>
          </p:nvCxnSpPr>
          <p:spPr>
            <a:xfrm>
              <a:off x="3263409" y="1271848"/>
              <a:ext cx="2656942" cy="0"/>
            </a:xfrm>
            <a:prstGeom prst="line">
              <a:avLst/>
            </a:prstGeom>
            <a:ln w="28575">
              <a:solidFill>
                <a:srgbClr val="3C419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 userDrawn="1"/>
          </p:nvCxnSpPr>
          <p:spPr>
            <a:xfrm>
              <a:off x="5899754" y="1271848"/>
              <a:ext cx="2656942" cy="0"/>
            </a:xfrm>
            <a:prstGeom prst="line">
              <a:avLst/>
            </a:prstGeom>
            <a:ln w="28575">
              <a:solidFill>
                <a:srgbClr val="ACB2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94224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16012" r:id="rId1"/>
    <p:sldLayoutId id="2147516013" r:id="rId2"/>
    <p:sldLayoutId id="2147516014" r:id="rId3"/>
    <p:sldLayoutId id="2147516015" r:id="rId4"/>
    <p:sldLayoutId id="2147516016" r:id="rId5"/>
    <p:sldLayoutId id="2147516017" r:id="rId6"/>
    <p:sldLayoutId id="2147516018" r:id="rId7"/>
    <p:sldLayoutId id="2147516019" r:id="rId8"/>
    <p:sldLayoutId id="2147516020" r:id="rId9"/>
    <p:sldLayoutId id="2147516021" r:id="rId10"/>
    <p:sldLayoutId id="2147516022" r:id="rId11"/>
    <p:sldLayoutId id="2147516023" r:id="rId12"/>
    <p:sldLayoutId id="2147516024" r:id="rId13"/>
  </p:sldLayoutIdLst>
  <p:transition>
    <p:fade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6148401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58" name="think-cell Folie" r:id="rId17" imgW="360" imgH="360" progId="TCLayout.ActiveDocument.1">
                  <p:embed/>
                </p:oleObj>
              </mc:Choice>
              <mc:Fallback>
                <p:oleObj name="think-cell Folie" r:id="rId17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5984875"/>
            <a:ext cx="9144000" cy="873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93688" y="0"/>
            <a:ext cx="8556625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 STYLE DU TITR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3688" y="1098550"/>
            <a:ext cx="8556625" cy="5026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s styles du texte du masque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38226" y="6503988"/>
            <a:ext cx="629549" cy="234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14400" eaLnBrk="1" hangingPunct="1"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030" name="Picture 5" descr="C:\Users\I0173026\Desktop\Logos\Logo-Sanofi-CHC-rvb-HD.JPG"/>
          <p:cNvPicPr>
            <a:picLocks noChangeAspect="1" noChangeArrowheads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3688" y="6373813"/>
            <a:ext cx="24352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Connecteur droit 2"/>
          <p:cNvCxnSpPr/>
          <p:nvPr/>
        </p:nvCxnSpPr>
        <p:spPr>
          <a:xfrm>
            <a:off x="293688" y="6243638"/>
            <a:ext cx="8556625" cy="0"/>
          </a:xfrm>
          <a:prstGeom prst="line">
            <a:avLst/>
          </a:prstGeom>
          <a:ln w="19050">
            <a:solidFill>
              <a:srgbClr val="A5A5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2" name="Groupe 7"/>
          <p:cNvGrpSpPr>
            <a:grpSpLocks/>
          </p:cNvGrpSpPr>
          <p:nvPr/>
        </p:nvGrpSpPr>
        <p:grpSpPr bwMode="auto">
          <a:xfrm>
            <a:off x="293688" y="900113"/>
            <a:ext cx="8556625" cy="112712"/>
            <a:chOff x="627063" y="1271848"/>
            <a:chExt cx="7929633" cy="0"/>
          </a:xfrm>
        </p:grpSpPr>
        <p:cxnSp>
          <p:nvCxnSpPr>
            <p:cNvPr id="11" name="Connecteur droit 10"/>
            <p:cNvCxnSpPr/>
            <p:nvPr userDrawn="1"/>
          </p:nvCxnSpPr>
          <p:spPr>
            <a:xfrm>
              <a:off x="627063" y="1271848"/>
              <a:ext cx="2656942" cy="0"/>
            </a:xfrm>
            <a:prstGeom prst="line">
              <a:avLst/>
            </a:prstGeom>
            <a:ln w="28575">
              <a:solidFill>
                <a:srgbClr val="BAA0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 userDrawn="1"/>
          </p:nvCxnSpPr>
          <p:spPr>
            <a:xfrm>
              <a:off x="3263409" y="1271848"/>
              <a:ext cx="2656942" cy="0"/>
            </a:xfrm>
            <a:prstGeom prst="line">
              <a:avLst/>
            </a:prstGeom>
            <a:ln w="28575">
              <a:solidFill>
                <a:srgbClr val="3C419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 userDrawn="1"/>
          </p:nvCxnSpPr>
          <p:spPr>
            <a:xfrm>
              <a:off x="5899754" y="1271848"/>
              <a:ext cx="2656942" cy="0"/>
            </a:xfrm>
            <a:prstGeom prst="line">
              <a:avLst/>
            </a:prstGeom>
            <a:ln w="28575">
              <a:solidFill>
                <a:srgbClr val="ACB2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1915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16026" r:id="rId1"/>
    <p:sldLayoutId id="2147516027" r:id="rId2"/>
    <p:sldLayoutId id="2147516028" r:id="rId3"/>
    <p:sldLayoutId id="2147516029" r:id="rId4"/>
    <p:sldLayoutId id="2147516030" r:id="rId5"/>
    <p:sldLayoutId id="2147516031" r:id="rId6"/>
    <p:sldLayoutId id="2147516032" r:id="rId7"/>
    <p:sldLayoutId id="2147516033" r:id="rId8"/>
    <p:sldLayoutId id="2147516034" r:id="rId9"/>
    <p:sldLayoutId id="2147516035" r:id="rId10"/>
    <p:sldLayoutId id="2147516036" r:id="rId11"/>
    <p:sldLayoutId id="2147516037" r:id="rId12"/>
    <p:sldLayoutId id="2147516038" r:id="rId13"/>
  </p:sldLayoutIdLst>
  <p:transition>
    <p:fade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02489523"/>
              </p:ext>
            </p:extLst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28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5984881"/>
            <a:ext cx="9144000" cy="873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93691" y="6"/>
            <a:ext cx="8556625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QUEZ POUR MODIFIER LE STYLE DU TITR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3691" y="1098551"/>
            <a:ext cx="8556625" cy="5026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Cliquez</a:t>
            </a:r>
            <a:r>
              <a:rPr lang="en-US" dirty="0" smtClean="0"/>
              <a:t> pour modifier les styles du </a:t>
            </a:r>
            <a:r>
              <a:rPr lang="en-US" dirty="0" err="1" smtClean="0"/>
              <a:t>texte</a:t>
            </a:r>
            <a:r>
              <a:rPr lang="en-US" dirty="0" smtClean="0"/>
              <a:t> du masque</a:t>
            </a:r>
          </a:p>
          <a:p>
            <a:pPr lvl="1"/>
            <a:r>
              <a:rPr lang="en-US" dirty="0" err="1" smtClean="0"/>
              <a:t>Deux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2"/>
            <a:r>
              <a:rPr lang="en-US" dirty="0" err="1" smtClean="0"/>
              <a:t>Trois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3"/>
            <a:r>
              <a:rPr lang="en-US" dirty="0" err="1" smtClean="0"/>
              <a:t>Quatr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  <a:p>
            <a:pPr lvl="4"/>
            <a:r>
              <a:rPr lang="en-US" dirty="0" err="1" smtClean="0"/>
              <a:t>Cinquième</a:t>
            </a:r>
            <a:r>
              <a:rPr lang="en-US" dirty="0" smtClean="0"/>
              <a:t> </a:t>
            </a:r>
            <a:r>
              <a:rPr lang="en-US" dirty="0" err="1" smtClean="0"/>
              <a:t>niveau</a:t>
            </a:r>
            <a:endParaRPr lang="en-US" dirty="0" smtClean="0"/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38229" y="6503988"/>
            <a:ext cx="629549" cy="234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14400" eaLnBrk="1" hangingPunct="1"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 dirty="0">
                <a:latin typeface="Arial"/>
              </a:rPr>
              <a:t>|</a:t>
            </a:r>
            <a:r>
              <a:rPr lang="en-US" sz="900" baseline="16000" dirty="0">
                <a:latin typeface="Arial"/>
              </a:rPr>
              <a:t>        </a:t>
            </a:r>
            <a:fld id="{C8A5DD0B-47B8-4FFF-85E0-6207ABAD9D9D}" type="slidenum">
              <a:rPr lang="en-US">
                <a:latin typeface="Arial"/>
              </a:rPr>
              <a:pPr/>
              <a:t>‹#›</a:t>
            </a:fld>
            <a:endParaRPr lang="en-US" dirty="0">
              <a:latin typeface="Arial"/>
            </a:endParaRPr>
          </a:p>
        </p:txBody>
      </p:sp>
      <p:pic>
        <p:nvPicPr>
          <p:cNvPr id="1030" name="Picture 5" descr="C:\Users\I0173026\Desktop\Logos\Logo-Sanofi-CHC-rvb-HD.JPG"/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3688" y="6373819"/>
            <a:ext cx="24352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Connecteur droit 2"/>
          <p:cNvCxnSpPr/>
          <p:nvPr/>
        </p:nvCxnSpPr>
        <p:spPr>
          <a:xfrm>
            <a:off x="293691" y="6243638"/>
            <a:ext cx="8556625" cy="0"/>
          </a:xfrm>
          <a:prstGeom prst="line">
            <a:avLst/>
          </a:prstGeom>
          <a:ln w="19050">
            <a:solidFill>
              <a:srgbClr val="A5A5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2" name="Groupe 7"/>
          <p:cNvGrpSpPr>
            <a:grpSpLocks/>
          </p:cNvGrpSpPr>
          <p:nvPr/>
        </p:nvGrpSpPr>
        <p:grpSpPr bwMode="auto">
          <a:xfrm>
            <a:off x="293691" y="900113"/>
            <a:ext cx="8556625" cy="112712"/>
            <a:chOff x="627063" y="1271848"/>
            <a:chExt cx="7929633" cy="0"/>
          </a:xfrm>
        </p:grpSpPr>
        <p:cxnSp>
          <p:nvCxnSpPr>
            <p:cNvPr id="11" name="Connecteur droit 10"/>
            <p:cNvCxnSpPr/>
            <p:nvPr userDrawn="1"/>
          </p:nvCxnSpPr>
          <p:spPr>
            <a:xfrm>
              <a:off x="627063" y="1271848"/>
              <a:ext cx="2656942" cy="0"/>
            </a:xfrm>
            <a:prstGeom prst="line">
              <a:avLst/>
            </a:prstGeom>
            <a:ln w="28575">
              <a:solidFill>
                <a:srgbClr val="BAA0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 userDrawn="1"/>
          </p:nvCxnSpPr>
          <p:spPr>
            <a:xfrm>
              <a:off x="3263409" y="1271848"/>
              <a:ext cx="2656942" cy="0"/>
            </a:xfrm>
            <a:prstGeom prst="line">
              <a:avLst/>
            </a:prstGeom>
            <a:ln w="28575">
              <a:solidFill>
                <a:srgbClr val="3C419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 userDrawn="1"/>
          </p:nvCxnSpPr>
          <p:spPr>
            <a:xfrm>
              <a:off x="5899754" y="1271848"/>
              <a:ext cx="2656942" cy="0"/>
            </a:xfrm>
            <a:prstGeom prst="line">
              <a:avLst/>
            </a:prstGeom>
            <a:ln w="28575">
              <a:solidFill>
                <a:srgbClr val="ACB2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71100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16040" r:id="rId1"/>
    <p:sldLayoutId id="2147516041" r:id="rId2"/>
    <p:sldLayoutId id="2147516042" r:id="rId3"/>
    <p:sldLayoutId id="2147516043" r:id="rId4"/>
    <p:sldLayoutId id="2147516044" r:id="rId5"/>
    <p:sldLayoutId id="2147516045" r:id="rId6"/>
    <p:sldLayoutId id="2147516046" r:id="rId7"/>
    <p:sldLayoutId id="2147516047" r:id="rId8"/>
    <p:sldLayoutId id="2147516048" r:id="rId9"/>
    <p:sldLayoutId id="2147516049" r:id="rId10"/>
    <p:sldLayoutId id="2147516050" r:id="rId11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1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1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1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100">
          <a:solidFill>
            <a:srgbClr val="989898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846616840"/>
              </p:ext>
            </p:extLst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176"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5984881"/>
            <a:ext cx="9144000" cy="873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93691" y="6"/>
            <a:ext cx="8556625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QUEZ POUR MODIFIER LE STYLE DU TITR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3691" y="1098551"/>
            <a:ext cx="8556625" cy="5026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quez pour modifier les styles du texte du masque</a:t>
            </a:r>
          </a:p>
          <a:p>
            <a:pPr lvl="1"/>
            <a:r>
              <a:rPr lang="en-US" smtClean="0"/>
              <a:t>Deuxième niveau</a:t>
            </a:r>
          </a:p>
          <a:p>
            <a:pPr lvl="2"/>
            <a:r>
              <a:rPr lang="en-US" smtClean="0"/>
              <a:t>Troisième niveau</a:t>
            </a:r>
          </a:p>
          <a:p>
            <a:pPr lvl="3"/>
            <a:r>
              <a:rPr lang="en-US" smtClean="0"/>
              <a:t>Quatrième niveau</a:t>
            </a:r>
          </a:p>
          <a:p>
            <a:pPr lvl="4"/>
            <a:r>
              <a:rPr lang="en-US" smtClean="0"/>
              <a:t>Cinquième niveau</a:t>
            </a: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38229" y="6503988"/>
            <a:ext cx="629549" cy="234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14400" eaLnBrk="1" hangingPunct="1"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 dirty="0">
                <a:latin typeface="Arial"/>
              </a:rPr>
              <a:t>|</a:t>
            </a:r>
            <a:r>
              <a:rPr lang="en-US" sz="900" baseline="16000" dirty="0">
                <a:latin typeface="Arial"/>
              </a:rPr>
              <a:t>        </a:t>
            </a:r>
            <a:fld id="{C8A5DD0B-47B8-4FFF-85E0-6207ABAD9D9D}" type="slidenum">
              <a:rPr lang="en-US">
                <a:latin typeface="Arial"/>
              </a:rPr>
              <a:pPr/>
              <a:t>‹#›</a:t>
            </a:fld>
            <a:endParaRPr lang="en-US" dirty="0">
              <a:latin typeface="Arial"/>
            </a:endParaRPr>
          </a:p>
        </p:txBody>
      </p:sp>
      <p:pic>
        <p:nvPicPr>
          <p:cNvPr id="1030" name="Picture 5" descr="C:\Users\I0173026\Desktop\Logos\Logo-Sanofi-CHC-rvb-HD.JPG"/>
          <p:cNvPicPr>
            <a:picLocks noChangeAspect="1" noChangeArrowheads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3688" y="6373819"/>
            <a:ext cx="24352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Connecteur droit 2"/>
          <p:cNvCxnSpPr/>
          <p:nvPr/>
        </p:nvCxnSpPr>
        <p:spPr>
          <a:xfrm>
            <a:off x="293691" y="6243638"/>
            <a:ext cx="8556625" cy="0"/>
          </a:xfrm>
          <a:prstGeom prst="line">
            <a:avLst/>
          </a:prstGeom>
          <a:ln w="19050">
            <a:solidFill>
              <a:srgbClr val="A5A5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2" name="Groupe 7"/>
          <p:cNvGrpSpPr>
            <a:grpSpLocks/>
          </p:cNvGrpSpPr>
          <p:nvPr/>
        </p:nvGrpSpPr>
        <p:grpSpPr bwMode="auto">
          <a:xfrm>
            <a:off x="293691" y="900113"/>
            <a:ext cx="8556625" cy="112712"/>
            <a:chOff x="627063" y="1271848"/>
            <a:chExt cx="7929633" cy="0"/>
          </a:xfrm>
        </p:grpSpPr>
        <p:cxnSp>
          <p:nvCxnSpPr>
            <p:cNvPr id="11" name="Connecteur droit 10"/>
            <p:cNvCxnSpPr/>
            <p:nvPr userDrawn="1"/>
          </p:nvCxnSpPr>
          <p:spPr>
            <a:xfrm>
              <a:off x="627063" y="1271848"/>
              <a:ext cx="2656942" cy="0"/>
            </a:xfrm>
            <a:prstGeom prst="line">
              <a:avLst/>
            </a:prstGeom>
            <a:ln w="28575">
              <a:solidFill>
                <a:srgbClr val="BAA0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 userDrawn="1"/>
          </p:nvCxnSpPr>
          <p:spPr>
            <a:xfrm>
              <a:off x="3263409" y="1271848"/>
              <a:ext cx="2656942" cy="0"/>
            </a:xfrm>
            <a:prstGeom prst="line">
              <a:avLst/>
            </a:prstGeom>
            <a:ln w="28575">
              <a:solidFill>
                <a:srgbClr val="3C419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 userDrawn="1"/>
          </p:nvCxnSpPr>
          <p:spPr>
            <a:xfrm>
              <a:off x="5899754" y="1271848"/>
              <a:ext cx="2656942" cy="0"/>
            </a:xfrm>
            <a:prstGeom prst="line">
              <a:avLst/>
            </a:prstGeom>
            <a:ln w="28575">
              <a:solidFill>
                <a:srgbClr val="ACB2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91947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16052" r:id="rId1"/>
    <p:sldLayoutId id="2147516053" r:id="rId2"/>
    <p:sldLayoutId id="2147516054" r:id="rId3"/>
    <p:sldLayoutId id="2147516055" r:id="rId4"/>
    <p:sldLayoutId id="2147516056" r:id="rId5"/>
    <p:sldLayoutId id="2147516057" r:id="rId6"/>
    <p:sldLayoutId id="2147516058" r:id="rId7"/>
    <p:sldLayoutId id="2147516059" r:id="rId8"/>
    <p:sldLayoutId id="2147516060" r:id="rId9"/>
    <p:sldLayoutId id="2147516061" r:id="rId10"/>
    <p:sldLayoutId id="2147516062" r:id="rId11"/>
    <p:sldLayoutId id="2147516063" r:id="rId12"/>
    <p:sldLayoutId id="2147516064" r:id="rId13"/>
    <p:sldLayoutId id="2147516065" r:id="rId14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5021102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800" name="think-cell Folie" r:id="rId16" imgW="360" imgH="360" progId="TCLayout.ActiveDocument.1">
                  <p:embed/>
                </p:oleObj>
              </mc:Choice>
              <mc:Fallback>
                <p:oleObj name="think-cell Folie" r:id="rId1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5984875"/>
            <a:ext cx="9144000" cy="873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93688" y="0"/>
            <a:ext cx="8556625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 STYLE DU TITR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3688" y="1098550"/>
            <a:ext cx="8556625" cy="5026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s styles du texte du masque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38226" y="6503988"/>
            <a:ext cx="629549" cy="234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14400" eaLnBrk="1" hangingPunct="1"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030" name="Picture 5" descr="C:\Users\I0173026\Desktop\Logos\Logo-Sanofi-CHC-rvb-HD.JPG"/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3688" y="6373813"/>
            <a:ext cx="24352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Connecteur droit 2"/>
          <p:cNvCxnSpPr/>
          <p:nvPr/>
        </p:nvCxnSpPr>
        <p:spPr>
          <a:xfrm>
            <a:off x="293688" y="6243638"/>
            <a:ext cx="8556625" cy="0"/>
          </a:xfrm>
          <a:prstGeom prst="line">
            <a:avLst/>
          </a:prstGeom>
          <a:ln w="19050">
            <a:solidFill>
              <a:srgbClr val="A5A5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2" name="Groupe 7"/>
          <p:cNvGrpSpPr>
            <a:grpSpLocks/>
          </p:cNvGrpSpPr>
          <p:nvPr/>
        </p:nvGrpSpPr>
        <p:grpSpPr bwMode="auto">
          <a:xfrm>
            <a:off x="293688" y="900113"/>
            <a:ext cx="8556625" cy="112712"/>
            <a:chOff x="627063" y="1271848"/>
            <a:chExt cx="7929633" cy="0"/>
          </a:xfrm>
        </p:grpSpPr>
        <p:cxnSp>
          <p:nvCxnSpPr>
            <p:cNvPr id="11" name="Connecteur droit 10"/>
            <p:cNvCxnSpPr/>
            <p:nvPr userDrawn="1"/>
          </p:nvCxnSpPr>
          <p:spPr>
            <a:xfrm>
              <a:off x="627063" y="1271848"/>
              <a:ext cx="2656942" cy="0"/>
            </a:xfrm>
            <a:prstGeom prst="line">
              <a:avLst/>
            </a:prstGeom>
            <a:ln w="28575">
              <a:solidFill>
                <a:srgbClr val="BAA0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 userDrawn="1"/>
          </p:nvCxnSpPr>
          <p:spPr>
            <a:xfrm>
              <a:off x="3263409" y="1271848"/>
              <a:ext cx="2656942" cy="0"/>
            </a:xfrm>
            <a:prstGeom prst="line">
              <a:avLst/>
            </a:prstGeom>
            <a:ln w="28575">
              <a:solidFill>
                <a:srgbClr val="3C419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 userDrawn="1"/>
          </p:nvCxnSpPr>
          <p:spPr>
            <a:xfrm>
              <a:off x="5899754" y="1271848"/>
              <a:ext cx="2656942" cy="0"/>
            </a:xfrm>
            <a:prstGeom prst="line">
              <a:avLst/>
            </a:prstGeom>
            <a:ln w="28575">
              <a:solidFill>
                <a:srgbClr val="ACB2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61024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15711" r:id="rId1"/>
    <p:sldLayoutId id="2147515712" r:id="rId2"/>
    <p:sldLayoutId id="2147515713" r:id="rId3"/>
    <p:sldLayoutId id="2147515714" r:id="rId4"/>
    <p:sldLayoutId id="2147515715" r:id="rId5"/>
    <p:sldLayoutId id="2147515716" r:id="rId6"/>
    <p:sldLayoutId id="2147515717" r:id="rId7"/>
    <p:sldLayoutId id="2147515718" r:id="rId8"/>
    <p:sldLayoutId id="2147515719" r:id="rId9"/>
    <p:sldLayoutId id="2147515720" r:id="rId10"/>
    <p:sldLayoutId id="2147515721" r:id="rId11"/>
    <p:sldLayoutId id="2147515722" r:id="rId12"/>
  </p:sldLayoutIdLst>
  <p:transition>
    <p:fade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2800000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051" name="think-cell Folie" r:id="rId17" imgW="360" imgH="360" progId="TCLayout.ActiveDocument.1">
                  <p:embed/>
                </p:oleObj>
              </mc:Choice>
              <mc:Fallback>
                <p:oleObj name="think-cell Folie" r:id="rId17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5984875"/>
            <a:ext cx="9144000" cy="873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93688" y="0"/>
            <a:ext cx="8556625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 STYLE DU TITR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3688" y="1098550"/>
            <a:ext cx="8556625" cy="5026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s styles du texte du masque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38226" y="6503988"/>
            <a:ext cx="629549" cy="234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14400" eaLnBrk="1" hangingPunct="1"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030" name="Picture 5" descr="C:\Users\I0173026\Desktop\Logos\Logo-Sanofi-CHC-rvb-HD.JPG"/>
          <p:cNvPicPr>
            <a:picLocks noChangeAspect="1" noChangeArrowheads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3688" y="6373813"/>
            <a:ext cx="24352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Connecteur droit 2"/>
          <p:cNvCxnSpPr/>
          <p:nvPr/>
        </p:nvCxnSpPr>
        <p:spPr>
          <a:xfrm>
            <a:off x="293688" y="6243638"/>
            <a:ext cx="8556625" cy="0"/>
          </a:xfrm>
          <a:prstGeom prst="line">
            <a:avLst/>
          </a:prstGeom>
          <a:ln w="19050">
            <a:solidFill>
              <a:srgbClr val="A5A5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2" name="Groupe 7"/>
          <p:cNvGrpSpPr>
            <a:grpSpLocks/>
          </p:cNvGrpSpPr>
          <p:nvPr/>
        </p:nvGrpSpPr>
        <p:grpSpPr bwMode="auto">
          <a:xfrm>
            <a:off x="293688" y="900113"/>
            <a:ext cx="8556625" cy="112712"/>
            <a:chOff x="627063" y="1271848"/>
            <a:chExt cx="7929633" cy="0"/>
          </a:xfrm>
        </p:grpSpPr>
        <p:cxnSp>
          <p:nvCxnSpPr>
            <p:cNvPr id="11" name="Connecteur droit 10"/>
            <p:cNvCxnSpPr/>
            <p:nvPr userDrawn="1"/>
          </p:nvCxnSpPr>
          <p:spPr>
            <a:xfrm>
              <a:off x="627063" y="1271848"/>
              <a:ext cx="2656942" cy="0"/>
            </a:xfrm>
            <a:prstGeom prst="line">
              <a:avLst/>
            </a:prstGeom>
            <a:ln w="28575">
              <a:solidFill>
                <a:srgbClr val="BAA0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 userDrawn="1"/>
          </p:nvCxnSpPr>
          <p:spPr>
            <a:xfrm>
              <a:off x="3263409" y="1271848"/>
              <a:ext cx="2656942" cy="0"/>
            </a:xfrm>
            <a:prstGeom prst="line">
              <a:avLst/>
            </a:prstGeom>
            <a:ln w="28575">
              <a:solidFill>
                <a:srgbClr val="3C419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 userDrawn="1"/>
          </p:nvCxnSpPr>
          <p:spPr>
            <a:xfrm>
              <a:off x="5899754" y="1271848"/>
              <a:ext cx="2656942" cy="0"/>
            </a:xfrm>
            <a:prstGeom prst="line">
              <a:avLst/>
            </a:prstGeom>
            <a:ln w="28575">
              <a:solidFill>
                <a:srgbClr val="ACB2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9676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15724" r:id="rId1"/>
    <p:sldLayoutId id="2147515725" r:id="rId2"/>
    <p:sldLayoutId id="2147515726" r:id="rId3"/>
    <p:sldLayoutId id="2147515727" r:id="rId4"/>
    <p:sldLayoutId id="2147515728" r:id="rId5"/>
    <p:sldLayoutId id="2147515729" r:id="rId6"/>
    <p:sldLayoutId id="2147515730" r:id="rId7"/>
    <p:sldLayoutId id="2147515731" r:id="rId8"/>
    <p:sldLayoutId id="2147515732" r:id="rId9"/>
    <p:sldLayoutId id="2147515733" r:id="rId10"/>
    <p:sldLayoutId id="2147515734" r:id="rId11"/>
    <p:sldLayoutId id="2147515735" r:id="rId12"/>
    <p:sldLayoutId id="2147515736" r:id="rId13"/>
  </p:sldLayoutIdLst>
  <p:transition>
    <p:fade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816843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075" name="think-cell Folie" r:id="rId17" imgW="360" imgH="360" progId="TCLayout.ActiveDocument.1">
                  <p:embed/>
                </p:oleObj>
              </mc:Choice>
              <mc:Fallback>
                <p:oleObj name="think-cell Folie" r:id="rId17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5984875"/>
            <a:ext cx="9144000" cy="873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93688" y="0"/>
            <a:ext cx="8556625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 STYLE DU TITR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3688" y="1098550"/>
            <a:ext cx="8556625" cy="5026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s styles du texte du masque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38226" y="6503988"/>
            <a:ext cx="629549" cy="234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14400" eaLnBrk="1" hangingPunct="1"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030" name="Picture 5" descr="C:\Users\I0173026\Desktop\Logos\Logo-Sanofi-CHC-rvb-HD.JPG"/>
          <p:cNvPicPr>
            <a:picLocks noChangeAspect="1" noChangeArrowheads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3688" y="6373813"/>
            <a:ext cx="24352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Connecteur droit 2"/>
          <p:cNvCxnSpPr/>
          <p:nvPr/>
        </p:nvCxnSpPr>
        <p:spPr>
          <a:xfrm>
            <a:off x="293688" y="6243638"/>
            <a:ext cx="8556625" cy="0"/>
          </a:xfrm>
          <a:prstGeom prst="line">
            <a:avLst/>
          </a:prstGeom>
          <a:ln w="19050">
            <a:solidFill>
              <a:srgbClr val="A5A5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2" name="Groupe 7"/>
          <p:cNvGrpSpPr>
            <a:grpSpLocks/>
          </p:cNvGrpSpPr>
          <p:nvPr/>
        </p:nvGrpSpPr>
        <p:grpSpPr bwMode="auto">
          <a:xfrm>
            <a:off x="293688" y="900113"/>
            <a:ext cx="8556625" cy="112712"/>
            <a:chOff x="627063" y="1271848"/>
            <a:chExt cx="7929633" cy="0"/>
          </a:xfrm>
        </p:grpSpPr>
        <p:cxnSp>
          <p:nvCxnSpPr>
            <p:cNvPr id="11" name="Connecteur droit 10"/>
            <p:cNvCxnSpPr/>
            <p:nvPr userDrawn="1"/>
          </p:nvCxnSpPr>
          <p:spPr>
            <a:xfrm>
              <a:off x="627063" y="1271848"/>
              <a:ext cx="2656942" cy="0"/>
            </a:xfrm>
            <a:prstGeom prst="line">
              <a:avLst/>
            </a:prstGeom>
            <a:ln w="28575">
              <a:solidFill>
                <a:srgbClr val="BAA0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 userDrawn="1"/>
          </p:nvCxnSpPr>
          <p:spPr>
            <a:xfrm>
              <a:off x="3263409" y="1271848"/>
              <a:ext cx="2656942" cy="0"/>
            </a:xfrm>
            <a:prstGeom prst="line">
              <a:avLst/>
            </a:prstGeom>
            <a:ln w="28575">
              <a:solidFill>
                <a:srgbClr val="3C419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 userDrawn="1"/>
          </p:nvCxnSpPr>
          <p:spPr>
            <a:xfrm>
              <a:off x="5899754" y="1271848"/>
              <a:ext cx="2656942" cy="0"/>
            </a:xfrm>
            <a:prstGeom prst="line">
              <a:avLst/>
            </a:prstGeom>
            <a:ln w="28575">
              <a:solidFill>
                <a:srgbClr val="ACB2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57813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15738" r:id="rId1"/>
    <p:sldLayoutId id="2147515739" r:id="rId2"/>
    <p:sldLayoutId id="2147515740" r:id="rId3"/>
    <p:sldLayoutId id="2147515741" r:id="rId4"/>
    <p:sldLayoutId id="2147515742" r:id="rId5"/>
    <p:sldLayoutId id="2147515743" r:id="rId6"/>
    <p:sldLayoutId id="2147515744" r:id="rId7"/>
    <p:sldLayoutId id="2147515745" r:id="rId8"/>
    <p:sldLayoutId id="2147515746" r:id="rId9"/>
    <p:sldLayoutId id="2147515747" r:id="rId10"/>
    <p:sldLayoutId id="2147515748" r:id="rId11"/>
    <p:sldLayoutId id="2147515749" r:id="rId12"/>
    <p:sldLayoutId id="2147515750" r:id="rId13"/>
  </p:sldLayoutIdLst>
  <p:transition>
    <p:fade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0345446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099" name="think-cell Folie" r:id="rId17" imgW="360" imgH="360" progId="TCLayout.ActiveDocument.1">
                  <p:embed/>
                </p:oleObj>
              </mc:Choice>
              <mc:Fallback>
                <p:oleObj name="think-cell Folie" r:id="rId17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5984875"/>
            <a:ext cx="9144000" cy="873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93688" y="0"/>
            <a:ext cx="8556625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 STYLE DU TITR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3688" y="1098550"/>
            <a:ext cx="8556625" cy="5026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s styles du texte du masque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38226" y="6503988"/>
            <a:ext cx="629549" cy="234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14400" eaLnBrk="1" hangingPunct="1"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030" name="Picture 5" descr="C:\Users\I0173026\Desktop\Logos\Logo-Sanofi-CHC-rvb-HD.JPG"/>
          <p:cNvPicPr>
            <a:picLocks noChangeAspect="1" noChangeArrowheads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3688" y="6373813"/>
            <a:ext cx="24352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Connecteur droit 2"/>
          <p:cNvCxnSpPr/>
          <p:nvPr/>
        </p:nvCxnSpPr>
        <p:spPr>
          <a:xfrm>
            <a:off x="293688" y="6243638"/>
            <a:ext cx="8556625" cy="0"/>
          </a:xfrm>
          <a:prstGeom prst="line">
            <a:avLst/>
          </a:prstGeom>
          <a:ln w="19050">
            <a:solidFill>
              <a:srgbClr val="A5A5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2" name="Groupe 7"/>
          <p:cNvGrpSpPr>
            <a:grpSpLocks/>
          </p:cNvGrpSpPr>
          <p:nvPr/>
        </p:nvGrpSpPr>
        <p:grpSpPr bwMode="auto">
          <a:xfrm>
            <a:off x="293688" y="900113"/>
            <a:ext cx="8556625" cy="112712"/>
            <a:chOff x="627063" y="1271848"/>
            <a:chExt cx="7929633" cy="0"/>
          </a:xfrm>
        </p:grpSpPr>
        <p:cxnSp>
          <p:nvCxnSpPr>
            <p:cNvPr id="11" name="Connecteur droit 10"/>
            <p:cNvCxnSpPr/>
            <p:nvPr userDrawn="1"/>
          </p:nvCxnSpPr>
          <p:spPr>
            <a:xfrm>
              <a:off x="627063" y="1271848"/>
              <a:ext cx="2656942" cy="0"/>
            </a:xfrm>
            <a:prstGeom prst="line">
              <a:avLst/>
            </a:prstGeom>
            <a:ln w="28575">
              <a:solidFill>
                <a:srgbClr val="BAA0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 userDrawn="1"/>
          </p:nvCxnSpPr>
          <p:spPr>
            <a:xfrm>
              <a:off x="3263409" y="1271848"/>
              <a:ext cx="2656942" cy="0"/>
            </a:xfrm>
            <a:prstGeom prst="line">
              <a:avLst/>
            </a:prstGeom>
            <a:ln w="28575">
              <a:solidFill>
                <a:srgbClr val="3C419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 userDrawn="1"/>
          </p:nvCxnSpPr>
          <p:spPr>
            <a:xfrm>
              <a:off x="5899754" y="1271848"/>
              <a:ext cx="2656942" cy="0"/>
            </a:xfrm>
            <a:prstGeom prst="line">
              <a:avLst/>
            </a:prstGeom>
            <a:ln w="28575">
              <a:solidFill>
                <a:srgbClr val="ACB2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09050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15752" r:id="rId1"/>
    <p:sldLayoutId id="2147515753" r:id="rId2"/>
    <p:sldLayoutId id="2147515754" r:id="rId3"/>
    <p:sldLayoutId id="2147515755" r:id="rId4"/>
    <p:sldLayoutId id="2147515756" r:id="rId5"/>
    <p:sldLayoutId id="2147515757" r:id="rId6"/>
    <p:sldLayoutId id="2147515758" r:id="rId7"/>
    <p:sldLayoutId id="2147515759" r:id="rId8"/>
    <p:sldLayoutId id="2147515760" r:id="rId9"/>
    <p:sldLayoutId id="2147515761" r:id="rId10"/>
    <p:sldLayoutId id="2147515762" r:id="rId11"/>
    <p:sldLayoutId id="2147515763" r:id="rId12"/>
    <p:sldLayoutId id="2147515764" r:id="rId13"/>
  </p:sldLayoutIdLst>
  <p:transition>
    <p:fade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7437797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68"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5984875"/>
            <a:ext cx="9144000" cy="873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93688" y="0"/>
            <a:ext cx="8556625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QUEZ POUR MODIFIER LE STYLE DU TITR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3688" y="1098550"/>
            <a:ext cx="8556625" cy="5026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quez pour modifier les styles du texte du masque</a:t>
            </a:r>
          </a:p>
          <a:p>
            <a:pPr lvl="1"/>
            <a:r>
              <a:rPr lang="en-US" smtClean="0"/>
              <a:t>Deuxième niveau</a:t>
            </a:r>
          </a:p>
          <a:p>
            <a:pPr lvl="2"/>
            <a:r>
              <a:rPr lang="en-US" smtClean="0"/>
              <a:t>Troisième niveau</a:t>
            </a:r>
          </a:p>
          <a:p>
            <a:pPr lvl="3"/>
            <a:r>
              <a:rPr lang="en-US" smtClean="0"/>
              <a:t>Quatrième niveau</a:t>
            </a:r>
          </a:p>
          <a:p>
            <a:pPr lvl="4"/>
            <a:r>
              <a:rPr lang="en-US" smtClean="0"/>
              <a:t>Cinquième niveau</a:t>
            </a: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38226" y="6503988"/>
            <a:ext cx="629549" cy="234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14400" eaLnBrk="1" hangingPunct="1"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 dirty="0">
                <a:latin typeface="Arial"/>
              </a:rPr>
              <a:t>|</a:t>
            </a:r>
            <a:r>
              <a:rPr lang="en-US" sz="900" baseline="16000" dirty="0">
                <a:latin typeface="Arial"/>
              </a:rPr>
              <a:t>        </a:t>
            </a:r>
            <a:fld id="{C8A5DD0B-47B8-4FFF-85E0-6207ABAD9D9D}" type="slidenum">
              <a:rPr lang="en-US">
                <a:latin typeface="Arial"/>
              </a:rPr>
              <a:pPr/>
              <a:t>‹#›</a:t>
            </a:fld>
            <a:endParaRPr lang="en-US" dirty="0">
              <a:latin typeface="Arial"/>
            </a:endParaRPr>
          </a:p>
        </p:txBody>
      </p:sp>
      <p:pic>
        <p:nvPicPr>
          <p:cNvPr id="1030" name="Picture 5" descr="C:\Users\I0173026\Desktop\Logos\Logo-Sanofi-CHC-rvb-HD.JPG"/>
          <p:cNvPicPr>
            <a:picLocks noChangeAspect="1" noChangeArrowheads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3688" y="6373813"/>
            <a:ext cx="24352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Connecteur droit 2"/>
          <p:cNvCxnSpPr/>
          <p:nvPr/>
        </p:nvCxnSpPr>
        <p:spPr>
          <a:xfrm>
            <a:off x="293688" y="6243638"/>
            <a:ext cx="8556625" cy="0"/>
          </a:xfrm>
          <a:prstGeom prst="line">
            <a:avLst/>
          </a:prstGeom>
          <a:ln w="19050">
            <a:solidFill>
              <a:srgbClr val="A5A5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2" name="Groupe 7"/>
          <p:cNvGrpSpPr>
            <a:grpSpLocks/>
          </p:cNvGrpSpPr>
          <p:nvPr/>
        </p:nvGrpSpPr>
        <p:grpSpPr bwMode="auto">
          <a:xfrm>
            <a:off x="293688" y="900113"/>
            <a:ext cx="8556625" cy="112712"/>
            <a:chOff x="627063" y="1271848"/>
            <a:chExt cx="7929633" cy="0"/>
          </a:xfrm>
        </p:grpSpPr>
        <p:cxnSp>
          <p:nvCxnSpPr>
            <p:cNvPr id="11" name="Connecteur droit 10"/>
            <p:cNvCxnSpPr/>
            <p:nvPr userDrawn="1"/>
          </p:nvCxnSpPr>
          <p:spPr>
            <a:xfrm>
              <a:off x="627063" y="1271848"/>
              <a:ext cx="2656942" cy="0"/>
            </a:xfrm>
            <a:prstGeom prst="line">
              <a:avLst/>
            </a:prstGeom>
            <a:ln w="28575">
              <a:solidFill>
                <a:srgbClr val="BAA0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 userDrawn="1"/>
          </p:nvCxnSpPr>
          <p:spPr>
            <a:xfrm>
              <a:off x="3263409" y="1271848"/>
              <a:ext cx="2656942" cy="0"/>
            </a:xfrm>
            <a:prstGeom prst="line">
              <a:avLst/>
            </a:prstGeom>
            <a:ln w="28575">
              <a:solidFill>
                <a:srgbClr val="3C419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 userDrawn="1"/>
          </p:nvCxnSpPr>
          <p:spPr>
            <a:xfrm>
              <a:off x="5899754" y="1271848"/>
              <a:ext cx="2656942" cy="0"/>
            </a:xfrm>
            <a:prstGeom prst="line">
              <a:avLst/>
            </a:prstGeom>
            <a:ln w="28575">
              <a:solidFill>
                <a:srgbClr val="ACB2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239057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15767" r:id="rId1"/>
    <p:sldLayoutId id="2147515768" r:id="rId2"/>
    <p:sldLayoutId id="2147515769" r:id="rId3"/>
    <p:sldLayoutId id="2147515770" r:id="rId4"/>
    <p:sldLayoutId id="2147515771" r:id="rId5"/>
    <p:sldLayoutId id="2147515772" r:id="rId6"/>
    <p:sldLayoutId id="2147515773" r:id="rId7"/>
    <p:sldLayoutId id="2147515774" r:id="rId8"/>
    <p:sldLayoutId id="2147515775" r:id="rId9"/>
    <p:sldLayoutId id="2147515776" r:id="rId10"/>
    <p:sldLayoutId id="2147515777" r:id="rId11"/>
    <p:sldLayoutId id="2147515778" r:id="rId12"/>
    <p:sldLayoutId id="2147515779" r:id="rId13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5582887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40" name="think-cell Folie" r:id="rId17" imgW="360" imgH="360" progId="TCLayout.ActiveDocument.1">
                  <p:embed/>
                </p:oleObj>
              </mc:Choice>
              <mc:Fallback>
                <p:oleObj name="think-cell Folie" r:id="rId17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5984875"/>
            <a:ext cx="9144000" cy="873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93688" y="0"/>
            <a:ext cx="8556625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 STYLE DU TITR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3688" y="1098550"/>
            <a:ext cx="8556625" cy="5026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s styles du texte du masque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38226" y="6503988"/>
            <a:ext cx="629549" cy="234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14400" eaLnBrk="1" hangingPunct="1"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030" name="Picture 5" descr="C:\Users\I0173026\Desktop\Logos\Logo-Sanofi-CHC-rvb-HD.JPG"/>
          <p:cNvPicPr>
            <a:picLocks noChangeAspect="1" noChangeArrowheads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3688" y="6373813"/>
            <a:ext cx="24352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Connecteur droit 2"/>
          <p:cNvCxnSpPr/>
          <p:nvPr/>
        </p:nvCxnSpPr>
        <p:spPr>
          <a:xfrm>
            <a:off x="293688" y="6243638"/>
            <a:ext cx="8556625" cy="0"/>
          </a:xfrm>
          <a:prstGeom prst="line">
            <a:avLst/>
          </a:prstGeom>
          <a:ln w="19050">
            <a:solidFill>
              <a:srgbClr val="A5A5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2" name="Groupe 7"/>
          <p:cNvGrpSpPr>
            <a:grpSpLocks/>
          </p:cNvGrpSpPr>
          <p:nvPr/>
        </p:nvGrpSpPr>
        <p:grpSpPr bwMode="auto">
          <a:xfrm>
            <a:off x="293688" y="900113"/>
            <a:ext cx="8556625" cy="112712"/>
            <a:chOff x="627063" y="1271848"/>
            <a:chExt cx="7929633" cy="0"/>
          </a:xfrm>
        </p:grpSpPr>
        <p:cxnSp>
          <p:nvCxnSpPr>
            <p:cNvPr id="11" name="Connecteur droit 10"/>
            <p:cNvCxnSpPr/>
            <p:nvPr userDrawn="1"/>
          </p:nvCxnSpPr>
          <p:spPr>
            <a:xfrm>
              <a:off x="627063" y="1271848"/>
              <a:ext cx="2656942" cy="0"/>
            </a:xfrm>
            <a:prstGeom prst="line">
              <a:avLst/>
            </a:prstGeom>
            <a:ln w="28575">
              <a:solidFill>
                <a:srgbClr val="BAA0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 userDrawn="1"/>
          </p:nvCxnSpPr>
          <p:spPr>
            <a:xfrm>
              <a:off x="3263409" y="1271848"/>
              <a:ext cx="2656942" cy="0"/>
            </a:xfrm>
            <a:prstGeom prst="line">
              <a:avLst/>
            </a:prstGeom>
            <a:ln w="28575">
              <a:solidFill>
                <a:srgbClr val="3C419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 userDrawn="1"/>
          </p:nvCxnSpPr>
          <p:spPr>
            <a:xfrm>
              <a:off x="5899754" y="1271848"/>
              <a:ext cx="2656942" cy="0"/>
            </a:xfrm>
            <a:prstGeom prst="line">
              <a:avLst/>
            </a:prstGeom>
            <a:ln w="28575">
              <a:solidFill>
                <a:srgbClr val="ACB2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54454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15781" r:id="rId1"/>
    <p:sldLayoutId id="2147515782" r:id="rId2"/>
    <p:sldLayoutId id="2147515783" r:id="rId3"/>
    <p:sldLayoutId id="2147515784" r:id="rId4"/>
    <p:sldLayoutId id="2147515785" r:id="rId5"/>
    <p:sldLayoutId id="2147515786" r:id="rId6"/>
    <p:sldLayoutId id="2147515787" r:id="rId7"/>
    <p:sldLayoutId id="2147515788" r:id="rId8"/>
    <p:sldLayoutId id="2147515789" r:id="rId9"/>
    <p:sldLayoutId id="2147515790" r:id="rId10"/>
    <p:sldLayoutId id="2147515791" r:id="rId11"/>
    <p:sldLayoutId id="2147515792" r:id="rId12"/>
    <p:sldLayoutId id="2147516066" r:id="rId13"/>
  </p:sldLayoutIdLst>
  <p:transition>
    <p:fade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3725343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312" name="think-cell Folie" r:id="rId17" imgW="360" imgH="360" progId="TCLayout.ActiveDocument.1">
                  <p:embed/>
                </p:oleObj>
              </mc:Choice>
              <mc:Fallback>
                <p:oleObj name="think-cell Folie" r:id="rId17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5984875"/>
            <a:ext cx="9144000" cy="873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dirty="0">
              <a:solidFill>
                <a:srgbClr val="FFFFFF"/>
              </a:solidFill>
              <a:ea typeface="MS PGothic" pitchFamily="34" charset="-128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93688" y="0"/>
            <a:ext cx="8556625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 STYLE DU TITR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3688" y="1098550"/>
            <a:ext cx="8556625" cy="5026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quez pour modifier les styles du texte du masque</a:t>
            </a:r>
          </a:p>
          <a:p>
            <a:pPr lvl="1"/>
            <a:r>
              <a:rPr lang="en-US"/>
              <a:t>Deuxième niveau</a:t>
            </a:r>
          </a:p>
          <a:p>
            <a:pPr lvl="2"/>
            <a:r>
              <a:rPr lang="en-US"/>
              <a:t>Troisième niveau</a:t>
            </a:r>
          </a:p>
          <a:p>
            <a:pPr lvl="3"/>
            <a:r>
              <a:rPr lang="en-US"/>
              <a:t>Quatrième niveau</a:t>
            </a:r>
          </a:p>
          <a:p>
            <a:pPr lvl="4"/>
            <a:r>
              <a:rPr lang="en-US"/>
              <a:t>Cinquième niveau</a:t>
            </a: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38226" y="6503988"/>
            <a:ext cx="629549" cy="234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14400" eaLnBrk="1" hangingPunct="1">
              <a:defRPr sz="800">
                <a:solidFill>
                  <a:srgbClr val="7F7F7F"/>
                </a:solidFill>
              </a:defRPr>
            </a:lvl1pPr>
          </a:lstStyle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C8A5DD0B-47B8-4FFF-85E0-6207ABAD9D9D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030" name="Picture 5" descr="C:\Users\I0173026\Desktop\Logos\Logo-Sanofi-CHC-rvb-HD.JPG"/>
          <p:cNvPicPr>
            <a:picLocks noChangeAspect="1" noChangeArrowheads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3688" y="6373813"/>
            <a:ext cx="24352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Connecteur droit 2"/>
          <p:cNvCxnSpPr/>
          <p:nvPr/>
        </p:nvCxnSpPr>
        <p:spPr>
          <a:xfrm>
            <a:off x="293688" y="6243638"/>
            <a:ext cx="8556625" cy="0"/>
          </a:xfrm>
          <a:prstGeom prst="line">
            <a:avLst/>
          </a:prstGeom>
          <a:ln w="19050">
            <a:solidFill>
              <a:srgbClr val="A5A5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2" name="Groupe 7"/>
          <p:cNvGrpSpPr>
            <a:grpSpLocks/>
          </p:cNvGrpSpPr>
          <p:nvPr/>
        </p:nvGrpSpPr>
        <p:grpSpPr bwMode="auto">
          <a:xfrm>
            <a:off x="293688" y="900113"/>
            <a:ext cx="8556625" cy="112712"/>
            <a:chOff x="627063" y="1271848"/>
            <a:chExt cx="7929633" cy="0"/>
          </a:xfrm>
        </p:grpSpPr>
        <p:cxnSp>
          <p:nvCxnSpPr>
            <p:cNvPr id="11" name="Connecteur droit 10"/>
            <p:cNvCxnSpPr/>
            <p:nvPr userDrawn="1"/>
          </p:nvCxnSpPr>
          <p:spPr>
            <a:xfrm>
              <a:off x="627063" y="1271848"/>
              <a:ext cx="2656942" cy="0"/>
            </a:xfrm>
            <a:prstGeom prst="line">
              <a:avLst/>
            </a:prstGeom>
            <a:ln w="28575">
              <a:solidFill>
                <a:srgbClr val="BAA0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/>
            <p:cNvCxnSpPr/>
            <p:nvPr userDrawn="1"/>
          </p:nvCxnSpPr>
          <p:spPr>
            <a:xfrm>
              <a:off x="3263409" y="1271848"/>
              <a:ext cx="2656942" cy="0"/>
            </a:xfrm>
            <a:prstGeom prst="line">
              <a:avLst/>
            </a:prstGeom>
            <a:ln w="28575">
              <a:solidFill>
                <a:srgbClr val="3C419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/>
            <p:cNvCxnSpPr/>
            <p:nvPr userDrawn="1"/>
          </p:nvCxnSpPr>
          <p:spPr>
            <a:xfrm>
              <a:off x="5899754" y="1271848"/>
              <a:ext cx="2656942" cy="0"/>
            </a:xfrm>
            <a:prstGeom prst="line">
              <a:avLst/>
            </a:prstGeom>
            <a:ln w="28575">
              <a:solidFill>
                <a:srgbClr val="ACB2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59930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15795" r:id="rId1"/>
    <p:sldLayoutId id="2147515796" r:id="rId2"/>
    <p:sldLayoutId id="2147515797" r:id="rId3"/>
    <p:sldLayoutId id="2147515798" r:id="rId4"/>
    <p:sldLayoutId id="2147515799" r:id="rId5"/>
    <p:sldLayoutId id="2147515800" r:id="rId6"/>
    <p:sldLayoutId id="2147515801" r:id="rId7"/>
    <p:sldLayoutId id="2147515802" r:id="rId8"/>
    <p:sldLayoutId id="2147515803" r:id="rId9"/>
    <p:sldLayoutId id="2147515804" r:id="rId10"/>
    <p:sldLayoutId id="2147515805" r:id="rId11"/>
    <p:sldLayoutId id="2147515806" r:id="rId12"/>
    <p:sldLayoutId id="2147515807" r:id="rId13"/>
  </p:sldLayoutIdLst>
  <p:transition>
    <p:fade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454492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sz="1600" b="1">
          <a:solidFill>
            <a:srgbClr val="989898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600">
          <a:solidFill>
            <a:srgbClr val="989898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Char char="•"/>
        <a:defRPr sz="16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jpg"/><Relationship Id="rId18" Type="http://schemas.openxmlformats.org/officeDocument/2006/relationships/image" Target="../media/image37.jpeg"/><Relationship Id="rId3" Type="http://schemas.openxmlformats.org/officeDocument/2006/relationships/diagramData" Target="../diagrams/data2.xml"/><Relationship Id="rId21" Type="http://schemas.openxmlformats.org/officeDocument/2006/relationships/image" Target="../media/image40.jpg"/><Relationship Id="rId7" Type="http://schemas.microsoft.com/office/2007/relationships/diagramDrawing" Target="../diagrams/drawing2.xml"/><Relationship Id="rId12" Type="http://schemas.openxmlformats.org/officeDocument/2006/relationships/image" Target="../media/image31.jpg"/><Relationship Id="rId17" Type="http://schemas.openxmlformats.org/officeDocument/2006/relationships/image" Target="../media/image36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35.jpg"/><Relationship Id="rId20" Type="http://schemas.openxmlformats.org/officeDocument/2006/relationships/image" Target="../media/image39.jpg"/><Relationship Id="rId1" Type="http://schemas.openxmlformats.org/officeDocument/2006/relationships/slideLayout" Target="../slideLayouts/slideLayout102.xml"/><Relationship Id="rId6" Type="http://schemas.openxmlformats.org/officeDocument/2006/relationships/diagramColors" Target="../diagrams/colors2.xml"/><Relationship Id="rId11" Type="http://schemas.openxmlformats.org/officeDocument/2006/relationships/image" Target="../media/image30.jpg"/><Relationship Id="rId5" Type="http://schemas.openxmlformats.org/officeDocument/2006/relationships/diagramQuickStyle" Target="../diagrams/quickStyle2.xml"/><Relationship Id="rId15" Type="http://schemas.openxmlformats.org/officeDocument/2006/relationships/image" Target="../media/image34.jpg"/><Relationship Id="rId23" Type="http://schemas.openxmlformats.org/officeDocument/2006/relationships/image" Target="../media/image42.png"/><Relationship Id="rId10" Type="http://schemas.openxmlformats.org/officeDocument/2006/relationships/image" Target="../media/image29.png"/><Relationship Id="rId19" Type="http://schemas.openxmlformats.org/officeDocument/2006/relationships/image" Target="../media/image38.jpg"/><Relationship Id="rId4" Type="http://schemas.openxmlformats.org/officeDocument/2006/relationships/diagramLayout" Target="../diagrams/layout2.xml"/><Relationship Id="rId9" Type="http://schemas.openxmlformats.org/officeDocument/2006/relationships/image" Target="../media/image28.png"/><Relationship Id="rId14" Type="http://schemas.openxmlformats.org/officeDocument/2006/relationships/image" Target="../media/image33.jpg"/><Relationship Id="rId22" Type="http://schemas.openxmlformats.org/officeDocument/2006/relationships/image" Target="../media/image41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ctrTitle"/>
          </p:nvPr>
        </p:nvSpPr>
        <p:spPr>
          <a:xfrm>
            <a:off x="1335088" y="2176463"/>
            <a:ext cx="6903138" cy="1470025"/>
          </a:xfrm>
        </p:spPr>
        <p:txBody>
          <a:bodyPr/>
          <a:lstStyle/>
          <a:p>
            <a:r>
              <a:rPr lang="de-DE" dirty="0" smtClean="0"/>
              <a:t>CHC Leadership Network</a:t>
            </a:r>
            <a:endParaRPr lang="en-US" dirty="0"/>
          </a:p>
        </p:txBody>
      </p:sp>
      <p:sp>
        <p:nvSpPr>
          <p:cNvPr id="6" name="Untertitel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i="1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|</a:t>
            </a:r>
            <a:r>
              <a:rPr lang="en-US" sz="900" baseline="16000" dirty="0"/>
              <a:t>        </a:t>
            </a:r>
            <a:fld id="{8E7423CB-C39B-46B7-9A76-B744759BC04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67234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ctrTitle"/>
          </p:nvPr>
        </p:nvSpPr>
        <p:spPr>
          <a:xfrm>
            <a:off x="1335088" y="2176463"/>
            <a:ext cx="6903138" cy="1470025"/>
          </a:xfrm>
        </p:spPr>
        <p:txBody>
          <a:bodyPr/>
          <a:lstStyle/>
          <a:p>
            <a:r>
              <a:rPr lang="de-AT" dirty="0" err="1" smtClean="0"/>
              <a:t>Our</a:t>
            </a:r>
            <a:r>
              <a:rPr lang="de-AT" dirty="0" smtClean="0"/>
              <a:t> </a:t>
            </a:r>
            <a:r>
              <a:rPr lang="de-AT" dirty="0" err="1" smtClean="0"/>
              <a:t>Purpose</a:t>
            </a:r>
            <a:r>
              <a:rPr lang="de-AT" dirty="0" smtClean="0"/>
              <a:t> &amp; Values</a:t>
            </a:r>
            <a:endParaRPr lang="en-US" dirty="0"/>
          </a:p>
        </p:txBody>
      </p:sp>
      <p:sp>
        <p:nvSpPr>
          <p:cNvPr id="6" name="Untertitel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i="1" dirty="0" smtClean="0"/>
          </a:p>
          <a:p>
            <a:r>
              <a:rPr lang="pl-PL" i="1" dirty="0" err="1" smtClean="0"/>
              <a:t>November</a:t>
            </a:r>
            <a:r>
              <a:rPr lang="en-US" i="1" dirty="0" smtClean="0"/>
              <a:t> </a:t>
            </a:r>
            <a:r>
              <a:rPr lang="pl-PL" i="1" dirty="0"/>
              <a:t>6</a:t>
            </a:r>
            <a:r>
              <a:rPr lang="en-US" i="1" baseline="30000" dirty="0" err="1" smtClean="0"/>
              <a:t>th</a:t>
            </a:r>
            <a:r>
              <a:rPr lang="en-US" i="1" dirty="0" smtClean="0"/>
              <a:t>, 2017</a:t>
            </a:r>
          </a:p>
          <a:p>
            <a:r>
              <a:rPr lang="en-US" i="1" dirty="0" smtClean="0"/>
              <a:t>John Broderick, Head of International</a:t>
            </a:r>
            <a:endParaRPr lang="en-US" i="1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|</a:t>
            </a:r>
            <a:r>
              <a:rPr lang="en-US" sz="900" baseline="16000"/>
              <a:t>        </a:t>
            </a:r>
            <a:fld id="{8E7423CB-C39B-46B7-9A76-B744759BC044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04512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ctivation </a:t>
            </a:r>
            <a:r>
              <a:rPr lang="en-US" dirty="0"/>
              <a:t>stories</a:t>
            </a:r>
          </a:p>
        </p:txBody>
      </p:sp>
      <p:graphicFrame>
        <p:nvGraphicFramePr>
          <p:cNvPr id="8" name="Content Placehold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39341977"/>
              </p:ext>
            </p:extLst>
          </p:nvPr>
        </p:nvGraphicFramePr>
        <p:xfrm>
          <a:off x="0" y="1098549"/>
          <a:ext cx="9144000" cy="40797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|</a:t>
            </a:r>
            <a:r>
              <a:rPr lang="en-US" sz="900" baseline="16000" smtClean="0"/>
              <a:t>        </a:t>
            </a:r>
            <a:fld id="{CCA6D8E2-A421-439A-9542-C7671204AF4F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2" name="Prostokąt zaokrąglony 1"/>
          <p:cNvSpPr/>
          <p:nvPr/>
        </p:nvSpPr>
        <p:spPr>
          <a:xfrm>
            <a:off x="2724956" y="3835304"/>
            <a:ext cx="5928527" cy="2344432"/>
          </a:xfrm>
          <a:prstGeom prst="roundRect">
            <a:avLst/>
          </a:prstGeom>
          <a:solidFill>
            <a:schemeClr val="bg1">
              <a:lumMod val="50000"/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3" name="pole tekstowe 2"/>
          <p:cNvSpPr txBox="1"/>
          <p:nvPr/>
        </p:nvSpPr>
        <p:spPr>
          <a:xfrm>
            <a:off x="2983341" y="3797784"/>
            <a:ext cx="5580374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pl-PL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Poland</a:t>
            </a: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lvl="0"/>
            <a:r>
              <a:rPr lang="pl-PL" b="1" dirty="0">
                <a:solidFill>
                  <a:schemeClr val="bg1"/>
                </a:solidFill>
                <a:latin typeface="Century Gothic" panose="020B0502020202020204" pitchFamily="34" charset="0"/>
              </a:rPr>
              <a:t>Magdalena Kruszewska</a:t>
            </a:r>
            <a:endParaRPr lang="en-US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r>
              <a:rPr lang="pl-PL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/>
            </a:r>
            <a:br>
              <a:rPr lang="pl-PL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pl-PL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The CHC team in Poland </a:t>
            </a:r>
            <a:r>
              <a:rPr lang="pl-PL" sz="1200" b="1" dirty="0" err="1" smtClean="0">
                <a:solidFill>
                  <a:schemeClr val="bg1"/>
                </a:solidFill>
                <a:latin typeface="Century Gothic" panose="020B0502020202020204" pitchFamily="34" charset="0"/>
              </a:rPr>
              <a:t>has</a:t>
            </a:r>
            <a:r>
              <a:rPr lang="pl-PL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pl-PL" sz="1200" b="1" dirty="0" err="1" smtClean="0">
                <a:solidFill>
                  <a:schemeClr val="bg1"/>
                </a:solidFill>
                <a:latin typeface="Century Gothic" panose="020B0502020202020204" pitchFamily="34" charset="0"/>
              </a:rPr>
              <a:t>been</a:t>
            </a:r>
            <a:r>
              <a:rPr lang="en-US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US" sz="1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familiarize with our Purpose</a:t>
            </a:r>
            <a:r>
              <a:rPr lang="pl-PL" sz="1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&amp;</a:t>
            </a:r>
            <a:r>
              <a:rPr lang="pl-PL" sz="12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Values</a:t>
            </a:r>
            <a:r>
              <a:rPr lang="pl-PL" sz="1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pl-PL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/>
            </a:r>
            <a:br>
              <a:rPr lang="pl-PL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en-US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in the most </a:t>
            </a:r>
            <a:r>
              <a:rPr lang="en-US" sz="1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engaging way that they could fully understand why </a:t>
            </a:r>
            <a:r>
              <a:rPr lang="pl-PL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/>
            </a:r>
            <a:br>
              <a:rPr lang="pl-PL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en-US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we </a:t>
            </a:r>
            <a:r>
              <a:rPr lang="en-US" sz="1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ome to work each </a:t>
            </a:r>
            <a:r>
              <a:rPr lang="en-US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day</a:t>
            </a:r>
            <a:r>
              <a:rPr lang="pl-PL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. </a:t>
            </a:r>
            <a:r>
              <a:rPr lang="en-US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The</a:t>
            </a:r>
            <a:r>
              <a:rPr lang="pl-PL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US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team </a:t>
            </a:r>
            <a:r>
              <a:rPr lang="pl-PL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pl-PL" sz="1200" b="1" dirty="0" err="1" smtClean="0">
                <a:solidFill>
                  <a:schemeClr val="bg1"/>
                </a:solidFill>
                <a:latin typeface="Century Gothic" panose="020B0502020202020204" pitchFamily="34" charset="0"/>
              </a:rPr>
              <a:t>proved</a:t>
            </a:r>
            <a:r>
              <a:rPr lang="pl-PL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pl-PL" sz="1200" b="1" dirty="0" err="1" smtClean="0">
                <a:solidFill>
                  <a:schemeClr val="bg1"/>
                </a:solidFill>
                <a:latin typeface="Century Gothic" panose="020B0502020202020204" pitchFamily="34" charset="0"/>
              </a:rPr>
              <a:t>that</a:t>
            </a:r>
            <a:r>
              <a:rPr lang="pl-PL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pl-PL" sz="12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our</a:t>
            </a:r>
            <a:r>
              <a:rPr lang="pl-PL" sz="1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pl-PL" sz="12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Values</a:t>
            </a:r>
            <a:r>
              <a:rPr lang="pl-PL" sz="1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pl-PL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/>
            </a:r>
            <a:br>
              <a:rPr lang="pl-PL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pl-PL" sz="1200" b="1" dirty="0" err="1" smtClean="0">
                <a:solidFill>
                  <a:schemeClr val="bg1"/>
                </a:solidFill>
                <a:latin typeface="Century Gothic" panose="020B0502020202020204" pitchFamily="34" charset="0"/>
              </a:rPr>
              <a:t>are</a:t>
            </a:r>
            <a:r>
              <a:rPr lang="pl-PL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pl-PL" sz="12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more</a:t>
            </a:r>
            <a:r>
              <a:rPr lang="pl-PL" sz="1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pl-PL" sz="12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than</a:t>
            </a:r>
            <a:r>
              <a:rPr lang="pl-PL" sz="1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pl-PL" sz="12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just</a:t>
            </a:r>
            <a:r>
              <a:rPr lang="pl-PL" sz="1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pl-PL" sz="1200" b="1" dirty="0" err="1" smtClean="0">
                <a:solidFill>
                  <a:schemeClr val="bg1"/>
                </a:solidFill>
                <a:latin typeface="Century Gothic" panose="020B0502020202020204" pitchFamily="34" charset="0"/>
              </a:rPr>
              <a:t>slogans</a:t>
            </a:r>
            <a:r>
              <a:rPr lang="pl-PL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, </a:t>
            </a:r>
            <a:r>
              <a:rPr lang="pl-PL" sz="1200" b="1" dirty="0" err="1" smtClean="0">
                <a:solidFill>
                  <a:schemeClr val="bg1"/>
                </a:solidFill>
                <a:latin typeface="Century Gothic" panose="020B0502020202020204" pitchFamily="34" charset="0"/>
              </a:rPr>
              <a:t>showing</a:t>
            </a:r>
            <a:r>
              <a:rPr lang="pl-PL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pl-PL" sz="1200" b="1" dirty="0" err="1" smtClean="0">
                <a:solidFill>
                  <a:schemeClr val="bg1"/>
                </a:solidFill>
                <a:latin typeface="Century Gothic" panose="020B0502020202020204" pitchFamily="34" charset="0"/>
              </a:rPr>
              <a:t>their</a:t>
            </a:r>
            <a:r>
              <a:rPr lang="pl-PL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 commitment, </a:t>
            </a:r>
            <a:r>
              <a:rPr lang="pl-PL" sz="1200" b="1" dirty="0" err="1" smtClean="0">
                <a:solidFill>
                  <a:schemeClr val="bg1"/>
                </a:solidFill>
                <a:latin typeface="Century Gothic" panose="020B0502020202020204" pitchFamily="34" charset="0"/>
              </a:rPr>
              <a:t>strong</a:t>
            </a:r>
            <a:r>
              <a:rPr lang="pl-PL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br>
              <a:rPr lang="pl-PL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pl-PL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engagement and </a:t>
            </a:r>
            <a:r>
              <a:rPr lang="pl-PL" sz="1200" b="1" dirty="0" err="1" smtClean="0">
                <a:solidFill>
                  <a:schemeClr val="bg1"/>
                </a:solidFill>
                <a:latin typeface="Century Gothic" panose="020B0502020202020204" pitchFamily="34" charset="0"/>
              </a:rPr>
              <a:t>fantastic</a:t>
            </a:r>
            <a:r>
              <a:rPr lang="pl-PL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pl-PL" sz="1200" b="1" dirty="0" err="1" smtClean="0">
                <a:solidFill>
                  <a:schemeClr val="bg1"/>
                </a:solidFill>
                <a:latin typeface="Century Gothic" panose="020B0502020202020204" pitchFamily="34" charset="0"/>
              </a:rPr>
              <a:t>teamwork</a:t>
            </a:r>
            <a:r>
              <a:rPr lang="pl-PL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 Spirit. We </a:t>
            </a:r>
            <a:r>
              <a:rPr lang="en-US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reached </a:t>
            </a:r>
            <a:r>
              <a:rPr lang="en-US" sz="1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out to </a:t>
            </a:r>
            <a:r>
              <a:rPr lang="pl-PL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/>
            </a:r>
            <a:br>
              <a:rPr lang="pl-PL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en-US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consumers directly </a:t>
            </a:r>
            <a:r>
              <a:rPr lang="pl-PL" sz="1200" b="1" dirty="0" err="1" smtClean="0">
                <a:solidFill>
                  <a:schemeClr val="bg1"/>
                </a:solidFill>
                <a:latin typeface="Century Gothic" panose="020B0502020202020204" pitchFamily="34" charset="0"/>
              </a:rPr>
              <a:t>through</a:t>
            </a:r>
            <a:r>
              <a:rPr lang="pl-PL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pl-PL" sz="1200" b="1" dirty="0" err="1" smtClean="0">
                <a:solidFill>
                  <a:schemeClr val="bg1"/>
                </a:solidFill>
                <a:latin typeface="Century Gothic" panose="020B0502020202020204" pitchFamily="34" charset="0"/>
              </a:rPr>
              <a:t>our</a:t>
            </a:r>
            <a:r>
              <a:rPr lang="pl-PL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pl-PL" sz="1200" b="1" dirty="0" err="1" smtClean="0">
                <a:solidFill>
                  <a:schemeClr val="bg1"/>
                </a:solidFill>
                <a:latin typeface="Century Gothic" panose="020B0502020202020204" pitchFamily="34" charset="0"/>
              </a:rPr>
              <a:t>socio-educational</a:t>
            </a:r>
            <a:r>
              <a:rPr lang="pl-PL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pl-PL" sz="1200" b="1" dirty="0" err="1" smtClean="0">
                <a:solidFill>
                  <a:schemeClr val="bg1"/>
                </a:solidFill>
                <a:latin typeface="Century Gothic" panose="020B0502020202020204" pitchFamily="34" charset="0"/>
              </a:rPr>
              <a:t>campaigns</a:t>
            </a:r>
            <a:r>
              <a:rPr lang="pl-PL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 – to </a:t>
            </a:r>
            <a:r>
              <a:rPr lang="en-US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serve </a:t>
            </a:r>
            <a:r>
              <a:rPr lang="pl-PL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/>
            </a:r>
            <a:br>
              <a:rPr lang="pl-PL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</a:br>
            <a:r>
              <a:rPr lang="en-US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healthier </a:t>
            </a:r>
            <a:r>
              <a:rPr lang="en-US" sz="1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and fuller </a:t>
            </a:r>
            <a:r>
              <a:rPr lang="en-US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lives</a:t>
            </a:r>
            <a:r>
              <a:rPr lang="pl-PL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.</a:t>
            </a:r>
          </a:p>
          <a:p>
            <a:r>
              <a:rPr lang="pl-PL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I </a:t>
            </a:r>
            <a:r>
              <a:rPr lang="pl-PL" sz="1200" b="1" dirty="0" err="1" smtClean="0">
                <a:solidFill>
                  <a:schemeClr val="bg1"/>
                </a:solidFill>
                <a:latin typeface="Century Gothic" panose="020B0502020202020204" pitchFamily="34" charset="0"/>
              </a:rPr>
              <a:t>am</a:t>
            </a:r>
            <a:r>
              <a:rPr lang="pl-PL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pl-PL" sz="1200" b="1" dirty="0" err="1" smtClean="0">
                <a:solidFill>
                  <a:schemeClr val="bg1"/>
                </a:solidFill>
                <a:latin typeface="Century Gothic" panose="020B0502020202020204" pitchFamily="34" charset="0"/>
              </a:rPr>
              <a:t>really</a:t>
            </a:r>
            <a:r>
              <a:rPr lang="pl-PL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pl-PL" sz="1200" b="1" dirty="0" err="1" smtClean="0">
                <a:solidFill>
                  <a:schemeClr val="bg1"/>
                </a:solidFill>
                <a:latin typeface="Century Gothic" panose="020B0502020202020204" pitchFamily="34" charset="0"/>
              </a:rPr>
              <a:t>proud</a:t>
            </a:r>
            <a:r>
              <a:rPr lang="pl-PL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pl-PL" sz="1200" b="1" dirty="0" err="1" smtClean="0">
                <a:solidFill>
                  <a:schemeClr val="bg1"/>
                </a:solidFill>
                <a:latin typeface="Century Gothic" panose="020B0502020202020204" pitchFamily="34" charset="0"/>
              </a:rPr>
              <a:t>what</a:t>
            </a:r>
            <a:r>
              <a:rPr lang="pl-PL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 we </a:t>
            </a:r>
            <a:r>
              <a:rPr lang="pl-PL" sz="1200" b="1" dirty="0" err="1" smtClean="0">
                <a:solidFill>
                  <a:schemeClr val="bg1"/>
                </a:solidFill>
                <a:latin typeface="Century Gothic" panose="020B0502020202020204" pitchFamily="34" charset="0"/>
              </a:rPr>
              <a:t>have</a:t>
            </a:r>
            <a:r>
              <a:rPr lang="pl-PL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pl-PL" sz="1200" b="1" dirty="0" err="1" smtClean="0">
                <a:solidFill>
                  <a:schemeClr val="bg1"/>
                </a:solidFill>
                <a:latin typeface="Century Gothic" panose="020B0502020202020204" pitchFamily="34" charset="0"/>
              </a:rPr>
              <a:t>achieved</a:t>
            </a:r>
            <a:r>
              <a:rPr lang="pl-PL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pl-PL" sz="1200" b="1" dirty="0" err="1" smtClean="0">
                <a:solidFill>
                  <a:schemeClr val="bg1"/>
                </a:solidFill>
                <a:latin typeface="Century Gothic" panose="020B0502020202020204" pitchFamily="34" charset="0"/>
              </a:rPr>
              <a:t>so</a:t>
            </a:r>
            <a:r>
              <a:rPr lang="pl-PL" sz="1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 far</a:t>
            </a:r>
            <a:endParaRPr lang="en-US" sz="12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endParaRPr lang="pl-PL" sz="16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76493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How we </a:t>
            </a:r>
            <a:r>
              <a:rPr lang="pl-PL" dirty="0" err="1" smtClean="0"/>
              <a:t>are</a:t>
            </a:r>
            <a:r>
              <a:rPr lang="pl-PL" dirty="0" smtClean="0"/>
              <a:t> </a:t>
            </a:r>
            <a:r>
              <a:rPr lang="pl-PL" dirty="0" err="1" smtClean="0"/>
              <a:t>reaching</a:t>
            </a:r>
            <a:r>
              <a:rPr lang="pl-PL" dirty="0" smtClean="0"/>
              <a:t> out </a:t>
            </a:r>
            <a:r>
              <a:rPr lang="pl-PL" dirty="0" err="1" smtClean="0"/>
              <a:t>our</a:t>
            </a:r>
            <a:r>
              <a:rPr lang="pl-PL" dirty="0" smtClean="0"/>
              <a:t> </a:t>
            </a:r>
            <a:r>
              <a:rPr lang="pl-PL" dirty="0" err="1" smtClean="0"/>
              <a:t>mission</a:t>
            </a:r>
            <a:r>
              <a:rPr lang="pl-PL" dirty="0" smtClean="0"/>
              <a:t> in CHC Poland?  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39D9E2-EFCA-452D-A1FC-E214D77FED2D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pl-PL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225489910"/>
              </p:ext>
            </p:extLst>
          </p:nvPr>
        </p:nvGraphicFramePr>
        <p:xfrm>
          <a:off x="1524000" y="13970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Prostokąt zaokrąglony 5"/>
          <p:cNvSpPr/>
          <p:nvPr/>
        </p:nvSpPr>
        <p:spPr>
          <a:xfrm>
            <a:off x="114299" y="1143000"/>
            <a:ext cx="2572981" cy="5829300"/>
          </a:xfrm>
          <a:prstGeom prst="roundRect">
            <a:avLst/>
          </a:prstGeom>
          <a:solidFill>
            <a:schemeClr val="tx1">
              <a:lumMod val="40000"/>
              <a:lumOff val="60000"/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7" name="Prostokąt zaokrąglony 6"/>
          <p:cNvSpPr/>
          <p:nvPr/>
        </p:nvSpPr>
        <p:spPr>
          <a:xfrm>
            <a:off x="6568903" y="1054100"/>
            <a:ext cx="2460797" cy="5918200"/>
          </a:xfrm>
          <a:prstGeom prst="roundRect">
            <a:avLst/>
          </a:prstGeom>
          <a:solidFill>
            <a:schemeClr val="tx1">
              <a:lumMod val="40000"/>
              <a:lumOff val="60000"/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8" name="pole tekstowe 7"/>
          <p:cNvSpPr txBox="1"/>
          <p:nvPr/>
        </p:nvSpPr>
        <p:spPr>
          <a:xfrm>
            <a:off x="42865" y="1244650"/>
            <a:ext cx="27029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b="1" dirty="0" err="1" smtClean="0">
                <a:solidFill>
                  <a:srgbClr val="002060"/>
                </a:solidFill>
                <a:latin typeface="Century Gothic" panose="020B0502020202020204" pitchFamily="34" charset="0"/>
              </a:rPr>
              <a:t>Activating</a:t>
            </a:r>
            <a:r>
              <a:rPr lang="pl-PL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pl-PL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our</a:t>
            </a:r>
            <a:r>
              <a:rPr lang="pl-PL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pl-PL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Purpose</a:t>
            </a:r>
            <a:endParaRPr lang="pl-PL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sp>
        <p:nvSpPr>
          <p:cNvPr id="9" name="pole tekstowe 8"/>
          <p:cNvSpPr txBox="1"/>
          <p:nvPr/>
        </p:nvSpPr>
        <p:spPr>
          <a:xfrm>
            <a:off x="6766908" y="1179612"/>
            <a:ext cx="20617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b="1" dirty="0" err="1" smtClean="0">
                <a:solidFill>
                  <a:srgbClr val="002060"/>
                </a:solidFill>
                <a:latin typeface="Century Gothic" panose="020B0502020202020204" pitchFamily="34" charset="0"/>
              </a:rPr>
              <a:t>Living</a:t>
            </a:r>
            <a:r>
              <a:rPr lang="pl-PL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pl-PL" b="1" dirty="0" err="1" smtClean="0">
                <a:solidFill>
                  <a:srgbClr val="002060"/>
                </a:solidFill>
                <a:latin typeface="Century Gothic" panose="020B0502020202020204" pitchFamily="34" charset="0"/>
              </a:rPr>
              <a:t>our</a:t>
            </a:r>
            <a:r>
              <a:rPr lang="pl-PL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pl-PL" b="1" dirty="0" err="1" smtClean="0">
                <a:solidFill>
                  <a:srgbClr val="002060"/>
                </a:solidFill>
                <a:latin typeface="Century Gothic" panose="020B0502020202020204" pitchFamily="34" charset="0"/>
              </a:rPr>
              <a:t>Values</a:t>
            </a:r>
            <a:endParaRPr lang="pl-PL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pole tekstowe 9"/>
          <p:cNvSpPr txBox="1"/>
          <p:nvPr/>
        </p:nvSpPr>
        <p:spPr>
          <a:xfrm>
            <a:off x="124467" y="1715632"/>
            <a:ext cx="2578100" cy="55322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pl-PL" sz="1400" b="1" dirty="0" err="1" smtClean="0">
                <a:solidFill>
                  <a:srgbClr val="002060"/>
                </a:solidFill>
                <a:latin typeface="Century Gothic" panose="020B0502020202020204" pitchFamily="34" charset="0"/>
              </a:rPr>
              <a:t>Engaging</a:t>
            </a:r>
            <a:r>
              <a:rPr lang="pl-PL" sz="14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pl-PL" sz="1400" b="1" dirty="0" err="1" smtClean="0">
                <a:solidFill>
                  <a:srgbClr val="002060"/>
                </a:solidFill>
                <a:latin typeface="Century Gothic" panose="020B0502020202020204" pitchFamily="34" charset="0"/>
              </a:rPr>
              <a:t>launch</a:t>
            </a:r>
            <a:r>
              <a:rPr lang="pl-PL" sz="14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: THM with Alan </a:t>
            </a:r>
            <a:r>
              <a:rPr lang="pl-PL" sz="1400" b="1" dirty="0" err="1" smtClean="0">
                <a:solidFill>
                  <a:srgbClr val="002060"/>
                </a:solidFill>
                <a:latin typeface="Century Gothic" panose="020B0502020202020204" pitchFamily="34" charset="0"/>
              </a:rPr>
              <a:t>Main</a:t>
            </a:r>
            <a:r>
              <a:rPr lang="pl-PL" sz="14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</a:p>
          <a:p>
            <a:r>
              <a:rPr lang="pl-PL" sz="14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/>
            </a:r>
            <a:br>
              <a:rPr lang="pl-PL" sz="14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</a:br>
            <a:endParaRPr lang="pl-PL" sz="1400" dirty="0" smtClean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endParaRPr lang="pl-PL" sz="1400" dirty="0" smtClean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endParaRPr lang="pl-PL" sz="1400" dirty="0" smtClean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endParaRPr lang="pl-PL" sz="1400" dirty="0" smtClean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pl-PL" sz="1400" b="1" dirty="0" err="1" smtClean="0">
                <a:solidFill>
                  <a:srgbClr val="002060"/>
                </a:solidFill>
                <a:latin typeface="Century Gothic" panose="020B0502020202020204" pitchFamily="34" charset="0"/>
              </a:rPr>
              <a:t>Pre-cycle</a:t>
            </a:r>
            <a:r>
              <a:rPr lang="pl-PL" sz="14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pl-PL" sz="1400" b="1" dirty="0" err="1" smtClean="0">
                <a:solidFill>
                  <a:srgbClr val="002060"/>
                </a:solidFill>
                <a:latin typeface="Century Gothic" panose="020B0502020202020204" pitchFamily="34" charset="0"/>
              </a:rPr>
              <a:t>meeting</a:t>
            </a:r>
            <a:r>
              <a:rPr lang="pl-PL" sz="14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 in May </a:t>
            </a:r>
            <a:r>
              <a:rPr lang="pl-PL" sz="1400" b="1" dirty="0" err="1" smtClean="0">
                <a:solidFill>
                  <a:srgbClr val="002060"/>
                </a:solidFill>
                <a:latin typeface="Century Gothic" panose="020B0502020202020204" pitchFamily="34" charset="0"/>
              </a:rPr>
              <a:t>fully</a:t>
            </a:r>
            <a:r>
              <a:rPr lang="pl-PL" sz="14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 dedicated </a:t>
            </a:r>
            <a:endParaRPr lang="pl-PL" sz="1050" b="1" dirty="0">
              <a:latin typeface="Century Gothic" panose="020B0502020202020204" pitchFamily="34" charset="0"/>
            </a:endParaRPr>
          </a:p>
          <a:p>
            <a:endParaRPr lang="pl-PL" sz="1050" b="1" dirty="0" smtClean="0">
              <a:latin typeface="Century Gothic" panose="020B0502020202020204" pitchFamily="34" charset="0"/>
            </a:endParaRPr>
          </a:p>
          <a:p>
            <a:endParaRPr lang="pl-PL" sz="1050" b="1" dirty="0" smtClean="0">
              <a:latin typeface="Century Gothic" panose="020B0502020202020204" pitchFamily="34" charset="0"/>
            </a:endParaRPr>
          </a:p>
          <a:p>
            <a:endParaRPr lang="pl-PL" sz="1050" b="1" dirty="0">
              <a:latin typeface="Century Gothic" panose="020B0502020202020204" pitchFamily="34" charset="0"/>
            </a:endParaRPr>
          </a:p>
          <a:p>
            <a:endParaRPr lang="pl-PL" sz="1050" b="1" dirty="0" smtClean="0">
              <a:latin typeface="Century Gothic" panose="020B0502020202020204" pitchFamily="34" charset="0"/>
            </a:endParaRPr>
          </a:p>
          <a:p>
            <a:pPr lvl="0"/>
            <a:endParaRPr lang="pl-PL" sz="1050" dirty="0">
              <a:latin typeface="Century Gothic" panose="020B0502020202020204" pitchFamily="34" charset="0"/>
            </a:endParaRPr>
          </a:p>
          <a:p>
            <a:pPr lvl="0"/>
            <a:endParaRPr lang="pl-PL" sz="1050" b="1" dirty="0">
              <a:latin typeface="Century Gothic" panose="020B0502020202020204" pitchFamily="34" charset="0"/>
            </a:endParaRPr>
          </a:p>
          <a:p>
            <a:pPr marL="285750" lvl="0" indent="-285750">
              <a:buFont typeface="Wingdings" panose="05000000000000000000" pitchFamily="2" charset="2"/>
              <a:buChar char="v"/>
            </a:pPr>
            <a:r>
              <a:rPr lang="pl-PL" sz="1400" b="1" dirty="0" err="1" smtClean="0">
                <a:solidFill>
                  <a:srgbClr val="002060"/>
                </a:solidFill>
                <a:latin typeface="Century Gothic" panose="020B0502020202020204" pitchFamily="34" charset="0"/>
              </a:rPr>
              <a:t>Follow</a:t>
            </a:r>
            <a:r>
              <a:rPr lang="pl-PL" sz="14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pl-PL" sz="1400" b="1" dirty="0" err="1" smtClean="0">
                <a:solidFill>
                  <a:srgbClr val="002060"/>
                </a:solidFill>
                <a:latin typeface="Century Gothic" panose="020B0502020202020204" pitchFamily="34" charset="0"/>
              </a:rPr>
              <a:t>up</a:t>
            </a:r>
            <a:endParaRPr lang="pl-PL" sz="14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050" b="1" dirty="0" err="1" smtClean="0">
                <a:latin typeface="Century Gothic" panose="020B0502020202020204" pitchFamily="34" charset="0"/>
              </a:rPr>
              <a:t>Strong</a:t>
            </a:r>
            <a:r>
              <a:rPr lang="pl-PL" sz="1050" b="1" dirty="0" smtClean="0">
                <a:latin typeface="Century Gothic" panose="020B0502020202020204" pitchFamily="34" charset="0"/>
              </a:rPr>
              <a:t> </a:t>
            </a:r>
            <a:r>
              <a:rPr lang="pl-PL" sz="1050" b="1" dirty="0" err="1" smtClean="0">
                <a:latin typeface="Century Gothic" panose="020B0502020202020204" pitchFamily="34" charset="0"/>
              </a:rPr>
              <a:t>Internal</a:t>
            </a:r>
            <a:r>
              <a:rPr lang="pl-PL" sz="1050" b="1" dirty="0" smtClean="0">
                <a:latin typeface="Century Gothic" panose="020B0502020202020204" pitchFamily="34" charset="0"/>
              </a:rPr>
              <a:t> </a:t>
            </a:r>
            <a:r>
              <a:rPr lang="pl-PL" sz="1050" dirty="0">
                <a:latin typeface="Century Gothic" panose="020B0502020202020204" pitchFamily="34" charset="0"/>
              </a:rPr>
              <a:t>communication &amp; </a:t>
            </a:r>
            <a:r>
              <a:rPr lang="pl-PL" sz="1050" dirty="0" smtClean="0">
                <a:latin typeface="Century Gothic" panose="020B0502020202020204" pitchFamily="34" charset="0"/>
              </a:rPr>
              <a:t> branding </a:t>
            </a:r>
            <a:r>
              <a:rPr lang="pl-PL" sz="1050" dirty="0">
                <a:latin typeface="Century Gothic" panose="020B0502020202020204" pitchFamily="34" charset="0"/>
              </a:rPr>
              <a:t>in </a:t>
            </a:r>
            <a:r>
              <a:rPr lang="pl-PL" sz="1050" dirty="0" smtClean="0">
                <a:latin typeface="Century Gothic" panose="020B0502020202020204" pitchFamily="34" charset="0"/>
              </a:rPr>
              <a:t>the </a:t>
            </a:r>
            <a:r>
              <a:rPr lang="en-US" sz="1050" dirty="0" smtClean="0">
                <a:latin typeface="Century Gothic" panose="020B0502020202020204" pitchFamily="34" charset="0"/>
              </a:rPr>
              <a:t>HQ </a:t>
            </a:r>
            <a:r>
              <a:rPr lang="en-US" sz="1050" dirty="0">
                <a:latin typeface="Century Gothic" panose="020B0502020202020204" pitchFamily="34" charset="0"/>
              </a:rPr>
              <a:t>in Warsaw and</a:t>
            </a:r>
            <a:r>
              <a:rPr lang="pl-PL" sz="1050" dirty="0">
                <a:latin typeface="Century Gothic" panose="020B0502020202020204" pitchFamily="34" charset="0"/>
              </a:rPr>
              <a:t> </a:t>
            </a:r>
            <a:r>
              <a:rPr lang="en-US" sz="1050" dirty="0">
                <a:latin typeface="Century Gothic" panose="020B0502020202020204" pitchFamily="34" charset="0"/>
              </a:rPr>
              <a:t>manufacturing site in Rzeszow</a:t>
            </a:r>
            <a:endParaRPr lang="pl-PL" sz="1050" dirty="0">
              <a:latin typeface="Century Gothic" panose="020B0502020202020204" pitchFamily="34" charset="0"/>
            </a:endParaRPr>
          </a:p>
          <a:p>
            <a:pPr lvl="0"/>
            <a:r>
              <a:rPr lang="pl-PL" sz="1050" b="1" dirty="0" smtClean="0">
                <a:latin typeface="Century Gothic" panose="020B0502020202020204" pitchFamily="34" charset="0"/>
              </a:rPr>
              <a:t> </a:t>
            </a:r>
            <a:endParaRPr lang="pl-PL" sz="1050" b="1" dirty="0">
              <a:latin typeface="Century Gothic" panose="020B0502020202020204" pitchFamily="34" charset="0"/>
            </a:endParaRPr>
          </a:p>
          <a:p>
            <a:pPr lvl="0"/>
            <a:endParaRPr lang="pl-PL" sz="14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l-PL" sz="1400" b="1" dirty="0" smtClean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lvl="0"/>
            <a:endParaRPr lang="pl-PL" sz="14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pl-PL" sz="1400" b="1" dirty="0" smtClean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lvl="0"/>
            <a:endParaRPr lang="pl-PL" sz="14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lvl="0"/>
            <a:endParaRPr lang="pl-PL" sz="14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endParaRPr lang="pl-PL" sz="1400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sp>
        <p:nvSpPr>
          <p:cNvPr id="11" name="pole tekstowe 10"/>
          <p:cNvSpPr txBox="1"/>
          <p:nvPr/>
        </p:nvSpPr>
        <p:spPr>
          <a:xfrm>
            <a:off x="6629400" y="1754764"/>
            <a:ext cx="2578100" cy="57323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pl-PL" sz="1400" b="1" dirty="0" err="1" smtClean="0">
                <a:solidFill>
                  <a:srgbClr val="002060"/>
                </a:solidFill>
                <a:latin typeface="Century Gothic" panose="020B0502020202020204" pitchFamily="34" charset="0"/>
              </a:rPr>
              <a:t>Socio-educational</a:t>
            </a:r>
            <a:r>
              <a:rPr lang="pl-PL" sz="14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pl-PL" sz="1400" b="1" dirty="0" err="1" smtClean="0">
                <a:solidFill>
                  <a:srgbClr val="002060"/>
                </a:solidFill>
                <a:latin typeface="Century Gothic" panose="020B0502020202020204" pitchFamily="34" charset="0"/>
              </a:rPr>
              <a:t>external</a:t>
            </a:r>
            <a:r>
              <a:rPr lang="pl-PL" sz="14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pl-PL" sz="1400" b="1" dirty="0" err="1" smtClean="0">
                <a:solidFill>
                  <a:srgbClr val="002060"/>
                </a:solidFill>
                <a:latin typeface="Century Gothic" panose="020B0502020202020204" pitchFamily="34" charset="0"/>
              </a:rPr>
              <a:t>campaigns</a:t>
            </a:r>
            <a:r>
              <a:rPr lang="pl-PL" sz="14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pl-PL" sz="20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endParaRPr lang="pl-PL" sz="1050" b="1" dirty="0">
              <a:latin typeface="Century Gothic" panose="020B0502020202020204" pitchFamily="34" charset="0"/>
            </a:endParaRPr>
          </a:p>
          <a:p>
            <a:endParaRPr lang="pl-PL" sz="1050" b="1" dirty="0" smtClean="0">
              <a:latin typeface="Century Gothic" panose="020B0502020202020204" pitchFamily="34" charset="0"/>
            </a:endParaRPr>
          </a:p>
          <a:p>
            <a:endParaRPr lang="pl-PL" sz="1050" b="1" dirty="0" smtClean="0">
              <a:latin typeface="Century Gothic" panose="020B0502020202020204" pitchFamily="34" charset="0"/>
            </a:endParaRPr>
          </a:p>
          <a:p>
            <a:endParaRPr lang="pl-PL" sz="1050" b="1" dirty="0">
              <a:latin typeface="Century Gothic" panose="020B0502020202020204" pitchFamily="34" charset="0"/>
            </a:endParaRPr>
          </a:p>
          <a:p>
            <a:endParaRPr lang="pl-PL" sz="1050" b="1" dirty="0" smtClean="0">
              <a:latin typeface="Century Gothic" panose="020B0502020202020204" pitchFamily="34" charset="0"/>
            </a:endParaRPr>
          </a:p>
          <a:p>
            <a:endParaRPr lang="pl-PL" sz="1050" dirty="0" smtClean="0">
              <a:latin typeface="Century Gothic" panose="020B0502020202020204" pitchFamily="34" charset="0"/>
            </a:endParaRPr>
          </a:p>
          <a:p>
            <a:pPr lvl="0"/>
            <a:endParaRPr lang="pl-PL" sz="1050" dirty="0" smtClean="0">
              <a:latin typeface="Century Gothic" panose="020B0502020202020204" pitchFamily="34" charset="0"/>
            </a:endParaRPr>
          </a:p>
          <a:p>
            <a:pPr marL="285750" lvl="0" indent="-285750">
              <a:buFont typeface="Wingdings" panose="05000000000000000000" pitchFamily="2" charset="2"/>
              <a:buChar char="v"/>
            </a:pPr>
            <a:r>
              <a:rPr lang="pl-PL" sz="14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„How </a:t>
            </a:r>
            <a:r>
              <a:rPr lang="pl-PL" sz="1400" b="1" dirty="0" err="1" smtClean="0">
                <a:solidFill>
                  <a:srgbClr val="002060"/>
                </a:solidFill>
                <a:latin typeface="Century Gothic" panose="020B0502020202020204" pitchFamily="34" charset="0"/>
              </a:rPr>
              <a:t>can</a:t>
            </a:r>
            <a:r>
              <a:rPr lang="pl-PL" sz="14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 I </a:t>
            </a:r>
            <a:r>
              <a:rPr lang="pl-PL" sz="1400" b="1" dirty="0" err="1" smtClean="0">
                <a:solidFill>
                  <a:srgbClr val="002060"/>
                </a:solidFill>
                <a:latin typeface="Century Gothic" panose="020B0502020202020204" pitchFamily="34" charset="0"/>
              </a:rPr>
              <a:t>change</a:t>
            </a:r>
            <a:r>
              <a:rPr lang="pl-PL" sz="14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br>
              <a:rPr lang="pl-PL" sz="14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</a:br>
            <a:r>
              <a:rPr lang="pl-PL" sz="14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the life of </a:t>
            </a:r>
            <a:r>
              <a:rPr lang="pl-PL" sz="1400" b="1" dirty="0" err="1" smtClean="0">
                <a:solidFill>
                  <a:srgbClr val="002060"/>
                </a:solidFill>
                <a:latin typeface="Century Gothic" panose="020B0502020202020204" pitchFamily="34" charset="0"/>
              </a:rPr>
              <a:t>our</a:t>
            </a:r>
            <a:r>
              <a:rPr lang="pl-PL" sz="14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pl-PL" sz="1400" b="1" dirty="0" err="1" smtClean="0">
                <a:solidFill>
                  <a:srgbClr val="002060"/>
                </a:solidFill>
                <a:latin typeface="Century Gothic" panose="020B0502020202020204" pitchFamily="34" charset="0"/>
              </a:rPr>
              <a:t>patients</a:t>
            </a:r>
            <a:r>
              <a:rPr lang="pl-PL" sz="14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pl-PL" sz="1400" b="1" dirty="0" err="1" smtClean="0">
                <a:solidFill>
                  <a:srgbClr val="002060"/>
                </a:solidFill>
                <a:latin typeface="Century Gothic" panose="020B0502020202020204" pitchFamily="34" charset="0"/>
              </a:rPr>
              <a:t>project</a:t>
            </a:r>
            <a:r>
              <a:rPr lang="pl-PL" sz="14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”</a:t>
            </a:r>
            <a:endParaRPr lang="pl-PL" sz="14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050" dirty="0" smtClean="0">
                <a:latin typeface="Century Gothic" panose="020B0502020202020204" pitchFamily="34" charset="0"/>
              </a:rPr>
              <a:t>Dedicated </a:t>
            </a:r>
            <a:r>
              <a:rPr lang="pl-PL" sz="1050" dirty="0" err="1">
                <a:latin typeface="Century Gothic" panose="020B0502020202020204" pitchFamily="34" charset="0"/>
              </a:rPr>
              <a:t>project</a:t>
            </a:r>
            <a:r>
              <a:rPr lang="pl-PL" sz="1050" dirty="0">
                <a:latin typeface="Century Gothic" panose="020B0502020202020204" pitchFamily="34" charset="0"/>
              </a:rPr>
              <a:t> </a:t>
            </a:r>
            <a:r>
              <a:rPr lang="en-US" sz="1050" dirty="0">
                <a:latin typeface="Century Gothic" panose="020B0502020202020204" pitchFamily="34" charset="0"/>
              </a:rPr>
              <a:t>for </a:t>
            </a:r>
            <a:r>
              <a:rPr lang="pl-PL" sz="1050" dirty="0" smtClean="0">
                <a:latin typeface="Century Gothic" panose="020B0502020202020204" pitchFamily="34" charset="0"/>
              </a:rPr>
              <a:t/>
            </a:r>
            <a:br>
              <a:rPr lang="pl-PL" sz="1050" dirty="0" smtClean="0">
                <a:latin typeface="Century Gothic" panose="020B0502020202020204" pitchFamily="34" charset="0"/>
              </a:rPr>
            </a:br>
            <a:r>
              <a:rPr lang="en-US" sz="1050" dirty="0" smtClean="0">
                <a:latin typeface="Century Gothic" panose="020B0502020202020204" pitchFamily="34" charset="0"/>
              </a:rPr>
              <a:t>employees </a:t>
            </a:r>
            <a:r>
              <a:rPr lang="en-US" sz="1050" dirty="0">
                <a:latin typeface="Century Gothic" panose="020B0502020202020204" pitchFamily="34" charset="0"/>
              </a:rPr>
              <a:t>- they can </a:t>
            </a:r>
            <a:r>
              <a:rPr lang="pl-PL" sz="1050" dirty="0" smtClean="0">
                <a:latin typeface="Century Gothic" panose="020B0502020202020204" pitchFamily="34" charset="0"/>
              </a:rPr>
              <a:t/>
            </a:r>
            <a:br>
              <a:rPr lang="pl-PL" sz="1050" dirty="0" smtClean="0">
                <a:latin typeface="Century Gothic" panose="020B0502020202020204" pitchFamily="34" charset="0"/>
              </a:rPr>
            </a:br>
            <a:r>
              <a:rPr lang="en-US" sz="1050" dirty="0" smtClean="0">
                <a:latin typeface="Century Gothic" panose="020B0502020202020204" pitchFamily="34" charset="0"/>
              </a:rPr>
              <a:t>claim </a:t>
            </a:r>
            <a:r>
              <a:rPr lang="en-US" sz="1050" dirty="0">
                <a:latin typeface="Century Gothic" panose="020B0502020202020204" pitchFamily="34" charset="0"/>
              </a:rPr>
              <a:t>for a grant </a:t>
            </a:r>
            <a:r>
              <a:rPr lang="pl-PL" sz="1050" dirty="0">
                <a:latin typeface="Century Gothic" panose="020B0502020202020204" pitchFamily="34" charset="0"/>
              </a:rPr>
              <a:t>to </a:t>
            </a:r>
            <a:r>
              <a:rPr lang="pl-PL" sz="1050" dirty="0" smtClean="0">
                <a:latin typeface="Century Gothic" panose="020B0502020202020204" pitchFamily="34" charset="0"/>
              </a:rPr>
              <a:t/>
            </a:r>
            <a:br>
              <a:rPr lang="pl-PL" sz="1050" dirty="0" smtClean="0">
                <a:latin typeface="Century Gothic" panose="020B0502020202020204" pitchFamily="34" charset="0"/>
              </a:rPr>
            </a:br>
            <a:r>
              <a:rPr lang="en-US" sz="1050" dirty="0" smtClean="0">
                <a:latin typeface="Century Gothic" panose="020B0502020202020204" pitchFamily="34" charset="0"/>
              </a:rPr>
              <a:t>implement</a:t>
            </a:r>
            <a:r>
              <a:rPr lang="pl-PL" sz="1050" dirty="0" smtClean="0">
                <a:latin typeface="Century Gothic" panose="020B0502020202020204" pitchFamily="34" charset="0"/>
              </a:rPr>
              <a:t> </a:t>
            </a:r>
            <a:r>
              <a:rPr lang="pl-PL" sz="1050" dirty="0" err="1">
                <a:latin typeface="Century Gothic" panose="020B0502020202020204" pitchFamily="34" charset="0"/>
              </a:rPr>
              <a:t>special</a:t>
            </a:r>
            <a:r>
              <a:rPr lang="pl-PL" sz="1050" dirty="0">
                <a:latin typeface="Century Gothic" panose="020B0502020202020204" pitchFamily="34" charset="0"/>
              </a:rPr>
              <a:t> </a:t>
            </a:r>
            <a:r>
              <a:rPr lang="pl-PL" sz="1050" dirty="0" smtClean="0">
                <a:latin typeface="Century Gothic" panose="020B0502020202020204" pitchFamily="34" charset="0"/>
              </a:rPr>
              <a:t/>
            </a:r>
            <a:br>
              <a:rPr lang="pl-PL" sz="1050" dirty="0" smtClean="0">
                <a:latin typeface="Century Gothic" panose="020B0502020202020204" pitchFamily="34" charset="0"/>
              </a:rPr>
            </a:br>
            <a:r>
              <a:rPr lang="pl-PL" sz="1050" dirty="0" err="1" smtClean="0">
                <a:latin typeface="Century Gothic" panose="020B0502020202020204" pitchFamily="34" charset="0"/>
              </a:rPr>
              <a:t>activity</a:t>
            </a:r>
            <a:r>
              <a:rPr lang="pl-PL" sz="1050" dirty="0" smtClean="0">
                <a:latin typeface="Century Gothic" panose="020B0502020202020204" pitchFamily="34" charset="0"/>
              </a:rPr>
              <a:t> </a:t>
            </a:r>
            <a:r>
              <a:rPr lang="pl-PL" sz="1050" dirty="0" err="1">
                <a:latin typeface="Century Gothic" panose="020B0502020202020204" pitchFamily="34" charset="0"/>
              </a:rPr>
              <a:t>that</a:t>
            </a:r>
            <a:r>
              <a:rPr lang="pl-PL" sz="1050" dirty="0">
                <a:latin typeface="Century Gothic" panose="020B0502020202020204" pitchFamily="34" charset="0"/>
              </a:rPr>
              <a:t> </a:t>
            </a:r>
            <a:r>
              <a:rPr lang="pl-PL" sz="1050" dirty="0" err="1">
                <a:latin typeface="Century Gothic" panose="020B0502020202020204" pitchFamily="34" charset="0"/>
              </a:rPr>
              <a:t>can</a:t>
            </a:r>
            <a:r>
              <a:rPr lang="pl-PL" sz="1050" dirty="0">
                <a:latin typeface="Century Gothic" panose="020B0502020202020204" pitchFamily="34" charset="0"/>
              </a:rPr>
              <a:t> </a:t>
            </a:r>
            <a:r>
              <a:rPr lang="pl-PL" sz="1050" dirty="0" smtClean="0">
                <a:latin typeface="Century Gothic" panose="020B0502020202020204" pitchFamily="34" charset="0"/>
              </a:rPr>
              <a:t/>
            </a:r>
            <a:br>
              <a:rPr lang="pl-PL" sz="1050" dirty="0" smtClean="0">
                <a:latin typeface="Century Gothic" panose="020B0502020202020204" pitchFamily="34" charset="0"/>
              </a:rPr>
            </a:br>
            <a:r>
              <a:rPr lang="pl-PL" sz="1050" dirty="0" err="1" smtClean="0">
                <a:latin typeface="Century Gothic" panose="020B0502020202020204" pitchFamily="34" charset="0"/>
              </a:rPr>
              <a:t>change</a:t>
            </a:r>
            <a:r>
              <a:rPr lang="pl-PL" sz="1050" dirty="0" smtClean="0">
                <a:latin typeface="Century Gothic" panose="020B0502020202020204" pitchFamily="34" charset="0"/>
              </a:rPr>
              <a:t> </a:t>
            </a:r>
            <a:r>
              <a:rPr lang="pl-PL" sz="1050" dirty="0">
                <a:latin typeface="Century Gothic" panose="020B0502020202020204" pitchFamily="34" charset="0"/>
              </a:rPr>
              <a:t>life of </a:t>
            </a:r>
            <a:r>
              <a:rPr lang="pl-PL" sz="1050" dirty="0" err="1">
                <a:latin typeface="Century Gothic" panose="020B0502020202020204" pitchFamily="34" charset="0"/>
              </a:rPr>
              <a:t>our</a:t>
            </a:r>
            <a:r>
              <a:rPr lang="pl-PL" sz="1050" dirty="0">
                <a:latin typeface="Century Gothic" panose="020B0502020202020204" pitchFamily="34" charset="0"/>
              </a:rPr>
              <a:t> </a:t>
            </a:r>
            <a:r>
              <a:rPr lang="pl-PL" sz="1050" dirty="0" smtClean="0">
                <a:latin typeface="Century Gothic" panose="020B0502020202020204" pitchFamily="34" charset="0"/>
              </a:rPr>
              <a:t/>
            </a:r>
            <a:br>
              <a:rPr lang="pl-PL" sz="1050" dirty="0" smtClean="0">
                <a:latin typeface="Century Gothic" panose="020B0502020202020204" pitchFamily="34" charset="0"/>
              </a:rPr>
            </a:br>
            <a:r>
              <a:rPr lang="pl-PL" sz="1050" dirty="0" err="1" smtClean="0">
                <a:latin typeface="Century Gothic" panose="020B0502020202020204" pitchFamily="34" charset="0"/>
              </a:rPr>
              <a:t>patients</a:t>
            </a:r>
            <a:r>
              <a:rPr lang="pl-PL" sz="1050" dirty="0" smtClean="0">
                <a:latin typeface="Century Gothic" panose="020B0502020202020204" pitchFamily="34" charset="0"/>
              </a:rPr>
              <a:t> </a:t>
            </a:r>
            <a:endParaRPr lang="pl-PL" sz="14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lvl="0"/>
            <a:endParaRPr lang="pl-PL" sz="1400" b="1" dirty="0" smtClean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pl-PL" sz="14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CHC Poland Spirit Award for </a:t>
            </a:r>
            <a:r>
              <a:rPr lang="pl-PL" sz="1400" b="1" dirty="0" err="1" smtClean="0">
                <a:solidFill>
                  <a:srgbClr val="002060"/>
                </a:solidFill>
                <a:latin typeface="Century Gothic" panose="020B0502020202020204" pitchFamily="34" charset="0"/>
              </a:rPr>
              <a:t>employees</a:t>
            </a:r>
            <a:endParaRPr lang="pl-PL" sz="14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pl-PL" sz="1050" dirty="0">
                <a:latin typeface="Century Gothic" panose="020B0502020202020204" pitchFamily="34" charset="0"/>
              </a:rPr>
              <a:t>R</a:t>
            </a:r>
            <a:r>
              <a:rPr lang="en-US" sz="1050" dirty="0" err="1" smtClean="0">
                <a:latin typeface="Century Gothic" panose="020B0502020202020204" pitchFamily="34" charset="0"/>
              </a:rPr>
              <a:t>ewarding</a:t>
            </a:r>
            <a:r>
              <a:rPr lang="en-US" sz="1050" dirty="0" smtClean="0">
                <a:latin typeface="Century Gothic" panose="020B0502020202020204" pitchFamily="34" charset="0"/>
              </a:rPr>
              <a:t> </a:t>
            </a:r>
            <a:r>
              <a:rPr lang="en-US" sz="1050" dirty="0">
                <a:latin typeface="Century Gothic" panose="020B0502020202020204" pitchFamily="34" charset="0"/>
              </a:rPr>
              <a:t>people </a:t>
            </a:r>
            <a:r>
              <a:rPr lang="pl-PL" sz="1050" dirty="0" smtClean="0">
                <a:latin typeface="Century Gothic" panose="020B0502020202020204" pitchFamily="34" charset="0"/>
              </a:rPr>
              <a:t/>
            </a:r>
            <a:br>
              <a:rPr lang="pl-PL" sz="1050" dirty="0" smtClean="0">
                <a:latin typeface="Century Gothic" panose="020B0502020202020204" pitchFamily="34" charset="0"/>
              </a:rPr>
            </a:br>
            <a:r>
              <a:rPr lang="en-US" sz="1050" dirty="0" smtClean="0">
                <a:latin typeface="Century Gothic" panose="020B0502020202020204" pitchFamily="34" charset="0"/>
              </a:rPr>
              <a:t>for </a:t>
            </a:r>
            <a:r>
              <a:rPr lang="pl-PL" sz="1050" dirty="0" err="1" smtClean="0">
                <a:latin typeface="Century Gothic" panose="020B0502020202020204" pitchFamily="34" charset="0"/>
              </a:rPr>
              <a:t>outstanding</a:t>
            </a:r>
            <a:r>
              <a:rPr lang="pl-PL" sz="1050" dirty="0" smtClean="0">
                <a:latin typeface="Century Gothic" panose="020B0502020202020204" pitchFamily="34" charset="0"/>
              </a:rPr>
              <a:t/>
            </a:r>
            <a:br>
              <a:rPr lang="pl-PL" sz="1050" dirty="0" smtClean="0">
                <a:latin typeface="Century Gothic" panose="020B0502020202020204" pitchFamily="34" charset="0"/>
              </a:rPr>
            </a:br>
            <a:r>
              <a:rPr lang="en-US" sz="1050" dirty="0" smtClean="0">
                <a:latin typeface="Century Gothic" panose="020B0502020202020204" pitchFamily="34" charset="0"/>
              </a:rPr>
              <a:t>attitude </a:t>
            </a:r>
            <a:r>
              <a:rPr lang="en-US" sz="1050" dirty="0">
                <a:latin typeface="Century Gothic" panose="020B0502020202020204" pitchFamily="34" charset="0"/>
              </a:rPr>
              <a:t>in the </a:t>
            </a:r>
            <a:r>
              <a:rPr lang="pl-PL" sz="1050" dirty="0" smtClean="0">
                <a:latin typeface="Century Gothic" panose="020B0502020202020204" pitchFamily="34" charset="0"/>
              </a:rPr>
              <a:t/>
            </a:r>
            <a:br>
              <a:rPr lang="pl-PL" sz="1050" dirty="0" smtClean="0">
                <a:latin typeface="Century Gothic" panose="020B0502020202020204" pitchFamily="34" charset="0"/>
              </a:rPr>
            </a:br>
            <a:r>
              <a:rPr lang="en-US" sz="1050" dirty="0" smtClean="0">
                <a:latin typeface="Century Gothic" panose="020B0502020202020204" pitchFamily="34" charset="0"/>
              </a:rPr>
              <a:t>area </a:t>
            </a:r>
            <a:r>
              <a:rPr lang="en-US" sz="1050" dirty="0">
                <a:latin typeface="Century Gothic" panose="020B0502020202020204" pitchFamily="34" charset="0"/>
              </a:rPr>
              <a:t>of our values</a:t>
            </a:r>
            <a:endParaRPr lang="pl-PL" sz="1050" dirty="0">
              <a:latin typeface="Century Gothic" panose="020B0502020202020204" pitchFamily="34" charset="0"/>
            </a:endParaRPr>
          </a:p>
          <a:p>
            <a:pPr lvl="0"/>
            <a:endParaRPr lang="pl-PL" sz="1050" dirty="0">
              <a:latin typeface="Century Gothic" panose="020B0502020202020204" pitchFamily="34" charset="0"/>
            </a:endParaRPr>
          </a:p>
          <a:p>
            <a:pPr lvl="0"/>
            <a:endParaRPr lang="pl-PL" sz="1050" dirty="0">
              <a:latin typeface="Century Gothic" panose="020B0502020202020204" pitchFamily="34" charset="0"/>
            </a:endParaRPr>
          </a:p>
          <a:p>
            <a:endParaRPr lang="pl-PL" sz="1050" dirty="0">
              <a:latin typeface="Century Gothic" panose="020B0502020202020204" pitchFamily="34" charset="0"/>
            </a:endParaRPr>
          </a:p>
        </p:txBody>
      </p:sp>
      <p:pic>
        <p:nvPicPr>
          <p:cNvPr id="12" name="Obraz 3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629" r="50000" b="30074"/>
          <a:stretch/>
        </p:blipFill>
        <p:spPr bwMode="auto">
          <a:xfrm>
            <a:off x="6589207" y="2293245"/>
            <a:ext cx="872042" cy="8316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itre 2"/>
          <p:cNvSpPr txBox="1">
            <a:spLocks/>
          </p:cNvSpPr>
          <p:nvPr/>
        </p:nvSpPr>
        <p:spPr>
          <a:xfrm>
            <a:off x="6568903" y="2957671"/>
            <a:ext cx="911397" cy="6598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i="0" kern="1200" cap="all" baseline="0">
                <a:solidFill>
                  <a:srgbClr val="989898"/>
                </a:solidFill>
                <a:latin typeface="ITC Avant Garde Gothic Book" charset="0"/>
                <a:ea typeface="ITC Avant Garde Gothic Book" charset="0"/>
                <a:cs typeface="ITC Avant Garde Gothic Book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900" b="1" i="0" u="none" strike="noStrike" kern="1200" cap="all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HAPPY LIVER, </a:t>
            </a:r>
            <a:br>
              <a:rPr kumimoji="0" lang="pl-PL" sz="900" b="1" i="0" u="none" strike="noStrike" kern="1200" cap="all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</a:br>
            <a:r>
              <a:rPr kumimoji="0" lang="pl-PL" sz="900" b="1" i="0" u="none" strike="noStrike" kern="1200" cap="all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HAPPY YOU</a:t>
            </a:r>
            <a:endParaRPr kumimoji="0" lang="fr-FR" sz="900" b="1" i="0" u="none" strike="noStrike" kern="1200" cap="all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57" r="17573"/>
          <a:stretch/>
        </p:blipFill>
        <p:spPr bwMode="auto">
          <a:xfrm>
            <a:off x="7461249" y="2275314"/>
            <a:ext cx="771390" cy="83430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5" name="Titre 2"/>
          <p:cNvSpPr txBox="1">
            <a:spLocks/>
          </p:cNvSpPr>
          <p:nvPr/>
        </p:nvSpPr>
        <p:spPr>
          <a:xfrm>
            <a:off x="7357977" y="2937307"/>
            <a:ext cx="1278023" cy="6598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i="0" kern="1200" cap="all" baseline="0">
                <a:solidFill>
                  <a:srgbClr val="989898"/>
                </a:solidFill>
                <a:latin typeface="ITC Avant Garde Gothic Book" charset="0"/>
                <a:ea typeface="ITC Avant Garde Gothic Book" charset="0"/>
                <a:cs typeface="ITC Avant Garde Gothic Book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900" b="1" i="0" u="none" strike="noStrike" kern="1200" cap="all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CHILDHOOD</a:t>
            </a:r>
            <a:r>
              <a:rPr kumimoji="0" lang="pl-PL" sz="900" b="1" i="0" u="none" strike="noStrike" kern="1200" cap="all" spc="0" normalizeH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entury Gothic" panose="020B0502020202020204" pitchFamily="34" charset="0"/>
                <a:cs typeface="Arial" panose="020B0604020202020204" pitchFamily="34" charset="0"/>
              </a:rPr>
              <a:t> DREAMS</a:t>
            </a:r>
            <a:endParaRPr kumimoji="0" lang="fr-FR" sz="900" b="1" i="0" u="none" strike="noStrike" kern="1200" cap="all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image.png"/>
          <p:cNvPicPr>
            <a:picLocks noChangeAspect="1"/>
          </p:cNvPicPr>
          <p:nvPr/>
        </p:nvPicPr>
        <p:blipFill rotWithShape="1">
          <a:blip r:embed="rId10">
            <a:extLst/>
          </a:blip>
          <a:srcRect l="6214" t="2651" r="469" b="12532"/>
          <a:stretch/>
        </p:blipFill>
        <p:spPr>
          <a:xfrm>
            <a:off x="8232639" y="2283195"/>
            <a:ext cx="764810" cy="784421"/>
          </a:xfrm>
          <a:prstGeom prst="rect">
            <a:avLst/>
          </a:prstGeom>
          <a:ln w="12700">
            <a:miter lim="400000"/>
          </a:ln>
        </p:spPr>
      </p:pic>
      <p:sp>
        <p:nvSpPr>
          <p:cNvPr id="17" name="Titre 2"/>
          <p:cNvSpPr txBox="1">
            <a:spLocks/>
          </p:cNvSpPr>
          <p:nvPr/>
        </p:nvSpPr>
        <p:spPr>
          <a:xfrm>
            <a:off x="8132677" y="2866594"/>
            <a:ext cx="1278023" cy="6598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i="0" kern="1200" cap="all" baseline="0">
                <a:solidFill>
                  <a:srgbClr val="989898"/>
                </a:solidFill>
                <a:latin typeface="ITC Avant Garde Gothic Book" charset="0"/>
                <a:ea typeface="ITC Avant Garde Gothic Book" charset="0"/>
                <a:cs typeface="ITC Avant Garde Gothic Book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900" b="1" dirty="0" err="1" smtClean="0">
                <a:solidFill>
                  <a:sysClr val="window" lastClr="FFFFFF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tresssmart</a:t>
            </a:r>
            <a:r>
              <a:rPr lang="pl-PL" sz="900" b="1" dirty="0" smtClean="0">
                <a:solidFill>
                  <a:sysClr val="window" lastClr="FFFFFF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endParaRPr kumimoji="0" lang="fr-FR" sz="900" b="1" i="0" u="none" strike="noStrike" kern="1200" cap="all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" name="Obraz 18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777" y="3780429"/>
            <a:ext cx="950651" cy="655296"/>
          </a:xfrm>
          <a:prstGeom prst="rect">
            <a:avLst/>
          </a:prstGeom>
        </p:spPr>
      </p:pic>
      <p:pic>
        <p:nvPicPr>
          <p:cNvPr id="20" name="Obraz 19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145" y="3780435"/>
            <a:ext cx="1001678" cy="647372"/>
          </a:xfrm>
          <a:prstGeom prst="rect">
            <a:avLst/>
          </a:prstGeom>
        </p:spPr>
      </p:pic>
      <p:pic>
        <p:nvPicPr>
          <p:cNvPr id="22" name="Obraz 21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862" y="5635929"/>
            <a:ext cx="324929" cy="1070642"/>
          </a:xfrm>
          <a:prstGeom prst="rect">
            <a:avLst/>
          </a:prstGeom>
        </p:spPr>
      </p:pic>
      <p:pic>
        <p:nvPicPr>
          <p:cNvPr id="23" name="Obraz 22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790" y="5635929"/>
            <a:ext cx="324929" cy="1070642"/>
          </a:xfrm>
          <a:prstGeom prst="rect">
            <a:avLst/>
          </a:prstGeom>
        </p:spPr>
      </p:pic>
      <p:pic>
        <p:nvPicPr>
          <p:cNvPr id="24" name="Obraz 23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886" y="5645977"/>
            <a:ext cx="324930" cy="1070642"/>
          </a:xfrm>
          <a:prstGeom prst="rect">
            <a:avLst/>
          </a:prstGeom>
        </p:spPr>
      </p:pic>
      <p:pic>
        <p:nvPicPr>
          <p:cNvPr id="25" name="Obraz 24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6607" y="5635929"/>
            <a:ext cx="327393" cy="1078760"/>
          </a:xfrm>
          <a:prstGeom prst="rect">
            <a:avLst/>
          </a:prstGeom>
        </p:spPr>
      </p:pic>
      <p:pic>
        <p:nvPicPr>
          <p:cNvPr id="265219" name="Obraz 4" descr="image001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6469" y="5663754"/>
            <a:ext cx="1043339" cy="10528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pole tekstowe 25"/>
          <p:cNvSpPr txBox="1"/>
          <p:nvPr/>
        </p:nvSpPr>
        <p:spPr>
          <a:xfrm>
            <a:off x="4373693" y="3063280"/>
            <a:ext cx="46358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3200" b="1" dirty="0" smtClean="0">
                <a:latin typeface="Century Gothic" panose="020B0502020202020204" pitchFamily="34" charset="0"/>
              </a:rPr>
              <a:t>&amp;</a:t>
            </a:r>
            <a:endParaRPr lang="pl-PL" sz="3200" b="1" dirty="0">
              <a:latin typeface="Century Gothic" panose="020B0502020202020204" pitchFamily="34" charset="0"/>
            </a:endParaRPr>
          </a:p>
        </p:txBody>
      </p:sp>
      <p:pic>
        <p:nvPicPr>
          <p:cNvPr id="265221" name="Obraz 4" descr="cid:image001.jpg@01D34CD8.E1C3F880"/>
          <p:cNvPicPr>
            <a:picLocks noChangeAspect="1" noChangeArrowheads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104" t="1506" r="10440" b="73627"/>
          <a:stretch/>
        </p:blipFill>
        <p:spPr bwMode="auto">
          <a:xfrm>
            <a:off x="8315813" y="6108318"/>
            <a:ext cx="652145" cy="527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rostokąt zaokrąglony 2"/>
          <p:cNvSpPr/>
          <p:nvPr/>
        </p:nvSpPr>
        <p:spPr>
          <a:xfrm>
            <a:off x="2707071" y="5938576"/>
            <a:ext cx="3846544" cy="68288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7" name="Prostokąt zaokrąglony 26"/>
          <p:cNvSpPr/>
          <p:nvPr/>
        </p:nvSpPr>
        <p:spPr>
          <a:xfrm>
            <a:off x="8315812" y="6214906"/>
            <a:ext cx="52775" cy="186416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pic>
        <p:nvPicPr>
          <p:cNvPr id="18" name="Obraz 17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9005" y="3822758"/>
            <a:ext cx="869513" cy="637520"/>
          </a:xfrm>
          <a:prstGeom prst="rect">
            <a:avLst/>
          </a:prstGeom>
        </p:spPr>
      </p:pic>
      <p:pic>
        <p:nvPicPr>
          <p:cNvPr id="29" name="Obraz 28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96" y="2269200"/>
            <a:ext cx="923904" cy="616552"/>
          </a:xfrm>
          <a:prstGeom prst="rect">
            <a:avLst/>
          </a:prstGeom>
        </p:spPr>
      </p:pic>
      <p:pic>
        <p:nvPicPr>
          <p:cNvPr id="265216" name="Obraz 265215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858" y="2272048"/>
            <a:ext cx="919636" cy="613704"/>
          </a:xfrm>
          <a:prstGeom prst="rect">
            <a:avLst/>
          </a:prstGeom>
        </p:spPr>
      </p:pic>
      <p:pic>
        <p:nvPicPr>
          <p:cNvPr id="31" name="Obraz 30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9005" y="2265334"/>
            <a:ext cx="854041" cy="628146"/>
          </a:xfrm>
          <a:prstGeom prst="rect">
            <a:avLst/>
          </a:prstGeom>
        </p:spPr>
      </p:pic>
      <p:pic>
        <p:nvPicPr>
          <p:cNvPr id="21" name="Obraz 20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8103902" y="4829159"/>
            <a:ext cx="925798" cy="619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6633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3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/&gt;&lt;m_precDefaultQuarter/&gt;&lt;m_precDefaultMonth/&gt;&lt;m_precDefaultWeek/&gt;&lt;m_precDefaultDay/&gt;&lt;m_mruColor&gt;&lt;m_vecMRU length=&quot;3&quot;&gt;&lt;elem m_fUsage=&quot;4.54159317167100160000E+000&quot;&gt;&lt;m_msothmcolidx val=&quot;0&quot;/&gt;&lt;m_rgb r=&quot;ee&quot; g=&quot;39&quot; b=&quot;bc&quot;/&gt;&lt;m_ppcolschidx tagver0=&quot;23004&quot; tagname0=&quot;m_ppcolschidxUNRECOGNIZED&quot; val=&quot;0&quot;/&gt;&lt;m_nBrightness val=&quot;0&quot;/&gt;&lt;/elem&gt;&lt;elem m_fUsage=&quot;1.91654100000000010000E+000&quot;&gt;&lt;m_msothmcolidx val=&quot;0&quot;/&gt;&lt;m_rgb r=&quot;71&quot; g=&quot;60&quot; b=&quot;d0&quot;/&gt;&lt;m_ppcolschidx tagver0=&quot;23004&quot; tagname0=&quot;m_ppcolschidxUNRECOGNIZED&quot; val=&quot;0&quot;/&gt;&lt;m_nBrightness val=&quot;0&quot;/&gt;&lt;/elem&gt;&lt;elem m_fUsage=&quot;1.00000000000000000000E+000&quot;&gt;&lt;m_msothmcolidx val=&quot;0&quot;/&gt;&lt;m_rgb r=&quot;f8&quot; g=&quot;8e&quot; b=&quot;1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9qCaT0un0..W0E1IegYE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1lENRJemEW4UZAJ0PcM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EOfIzdqkOuVBGw9BKxi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4bgua_r0adXEwvoLMH0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jHd8tKJ0eSFzePYEyVk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Qt9EVTskmqnGi4DfGQ1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SrGH4bo0.jtuhk93e4P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OSFQ7Ln0u2dTmwQ8ILL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9qCaT0un0..W0E1IegYE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1lENRJemEW4UZAJ0PcMh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EOfIzdqkOuVBGw9BKxi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4bgua_r0adXEwvoLMH0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jHd8tKJ0eSFzePYEyVk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Qt9EVTskmqnGi4DfGQ1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SrGH4bo0.jtuhk93e4P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OSFQ7Ln0u2dTmwQ8ILL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9qCaT0un0..W0E1IegYE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1lENRJemEW4UZAJ0PcMh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EOfIzdqkOuVBGw9BKxi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4bgua_r0adXEwvoLMH0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jHd8tKJ0eSFzePYEyVk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Qt9EVTskmqnGi4DfGQ1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SrGH4bo0.jtuhk93e4P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OSFQ7Ln0u2dTmwQ8ILL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9qCaT0un0..W0E1IegYE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1lENRJemEW4UZAJ0PcMh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EOfIzdqkOuVBGw9BKxi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4bgua_r0adXEwvoLMH0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jHd8tKJ0eSFzePYEyVk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Qt9EVTskmqnGi4DfGQ1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SrGH4bo0.jtuhk93e4P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OSFQ7Ln0u2dTmwQ8ILL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onception personnalisée">
  <a:themeElements>
    <a:clrScheme name="Sanofi CHC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DC006B"/>
      </a:accent1>
      <a:accent2>
        <a:srgbClr val="2D403E"/>
      </a:accent2>
      <a:accent3>
        <a:srgbClr val="9690C4"/>
      </a:accent3>
      <a:accent4>
        <a:srgbClr val="39397C"/>
      </a:accent4>
      <a:accent5>
        <a:srgbClr val="C9C6DE"/>
      </a:accent5>
      <a:accent6>
        <a:srgbClr val="ED5B43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0_Conception personnalisée">
  <a:themeElements>
    <a:clrScheme name="Sanofi CHC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DC006B"/>
      </a:accent1>
      <a:accent2>
        <a:srgbClr val="2D403E"/>
      </a:accent2>
      <a:accent3>
        <a:srgbClr val="9690C4"/>
      </a:accent3>
      <a:accent4>
        <a:srgbClr val="39397C"/>
      </a:accent4>
      <a:accent5>
        <a:srgbClr val="C9C6DE"/>
      </a:accent5>
      <a:accent6>
        <a:srgbClr val="ED5B43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9_Conception personnalisée">
  <a:themeElements>
    <a:clrScheme name="Sanofi CHC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DC006B"/>
      </a:accent1>
      <a:accent2>
        <a:srgbClr val="2D403E"/>
      </a:accent2>
      <a:accent3>
        <a:srgbClr val="9690C4"/>
      </a:accent3>
      <a:accent4>
        <a:srgbClr val="39397C"/>
      </a:accent4>
      <a:accent5>
        <a:srgbClr val="C9C6DE"/>
      </a:accent5>
      <a:accent6>
        <a:srgbClr val="ED5B43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_Ocre SG template">
  <a:themeElements>
    <a:clrScheme name="Conception personnalisée 1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9690C4"/>
      </a:accent1>
      <a:accent2>
        <a:srgbClr val="ED5B43"/>
      </a:accent2>
      <a:accent3>
        <a:srgbClr val="FFFFFF"/>
      </a:accent3>
      <a:accent4>
        <a:srgbClr val="39397C"/>
      </a:accent4>
      <a:accent5>
        <a:srgbClr val="C9C6DE"/>
      </a:accent5>
      <a:accent6>
        <a:srgbClr val="D7523C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8_Conception personnalisée">
  <a:themeElements>
    <a:clrScheme name="Sanofi CHC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DC006B"/>
      </a:accent1>
      <a:accent2>
        <a:srgbClr val="2D403E"/>
      </a:accent2>
      <a:accent3>
        <a:srgbClr val="9690C4"/>
      </a:accent3>
      <a:accent4>
        <a:srgbClr val="39397C"/>
      </a:accent4>
      <a:accent5>
        <a:srgbClr val="C9C6DE"/>
      </a:accent5>
      <a:accent6>
        <a:srgbClr val="ED5B43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Blue SG template">
  <a:themeElements>
    <a:clrScheme name="Conception personnalisée 1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9690C4"/>
      </a:accent1>
      <a:accent2>
        <a:srgbClr val="ED5B43"/>
      </a:accent2>
      <a:accent3>
        <a:srgbClr val="FFFFFF"/>
      </a:accent3>
      <a:accent4>
        <a:srgbClr val="39397C"/>
      </a:accent4>
      <a:accent5>
        <a:srgbClr val="C9C6DE"/>
      </a:accent5>
      <a:accent6>
        <a:srgbClr val="D7523C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35_Blue SG template">
  <a:themeElements>
    <a:clrScheme name="Conception personnalisée 1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9690C4"/>
      </a:accent1>
      <a:accent2>
        <a:srgbClr val="ED5B43"/>
      </a:accent2>
      <a:accent3>
        <a:srgbClr val="FFFFFF"/>
      </a:accent3>
      <a:accent4>
        <a:srgbClr val="39397C"/>
      </a:accent4>
      <a:accent5>
        <a:srgbClr val="C9C6DE"/>
      </a:accent5>
      <a:accent6>
        <a:srgbClr val="D7523C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6_Conception personnalisée">
  <a:themeElements>
    <a:clrScheme name="Conception personnalisée 1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9690C4"/>
      </a:accent1>
      <a:accent2>
        <a:srgbClr val="ED5B43"/>
      </a:accent2>
      <a:accent3>
        <a:srgbClr val="FFFFFF"/>
      </a:accent3>
      <a:accent4>
        <a:srgbClr val="39397C"/>
      </a:accent4>
      <a:accent5>
        <a:srgbClr val="C9C6DE"/>
      </a:accent5>
      <a:accent6>
        <a:srgbClr val="D7523C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11_Conception personnalisée">
  <a:themeElements>
    <a:clrScheme name="Conception personnalisée 1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9690C4"/>
      </a:accent1>
      <a:accent2>
        <a:srgbClr val="ED5B43"/>
      </a:accent2>
      <a:accent3>
        <a:srgbClr val="FFFFFF"/>
      </a:accent3>
      <a:accent4>
        <a:srgbClr val="39397C"/>
      </a:accent4>
      <a:accent5>
        <a:srgbClr val="C9C6DE"/>
      </a:accent5>
      <a:accent6>
        <a:srgbClr val="D7523C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14_Conception personnalisée">
  <a:themeElements>
    <a:clrScheme name="Conception personnalisée 1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9690C4"/>
      </a:accent1>
      <a:accent2>
        <a:srgbClr val="ED5B43"/>
      </a:accent2>
      <a:accent3>
        <a:srgbClr val="FFFFFF"/>
      </a:accent3>
      <a:accent4>
        <a:srgbClr val="39397C"/>
      </a:accent4>
      <a:accent5>
        <a:srgbClr val="C9C6DE"/>
      </a:accent5>
      <a:accent6>
        <a:srgbClr val="D7523C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17_Conception personnalisée">
  <a:themeElements>
    <a:clrScheme name="Conception personnalisée 1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9690C4"/>
      </a:accent1>
      <a:accent2>
        <a:srgbClr val="ED5B43"/>
      </a:accent2>
      <a:accent3>
        <a:srgbClr val="FFFFFF"/>
      </a:accent3>
      <a:accent4>
        <a:srgbClr val="39397C"/>
      </a:accent4>
      <a:accent5>
        <a:srgbClr val="C9C6DE"/>
      </a:accent5>
      <a:accent6>
        <a:srgbClr val="D7523C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hème Office">
  <a:themeElements>
    <a:clrScheme name="SANOFI 2015">
      <a:dk1>
        <a:srgbClr val="646464"/>
      </a:dk1>
      <a:lt1>
        <a:sysClr val="window" lastClr="FFFFFF"/>
      </a:lt1>
      <a:dk2>
        <a:srgbClr val="444492"/>
      </a:dk2>
      <a:lt2>
        <a:srgbClr val="BCA36A"/>
      </a:lt2>
      <a:accent1>
        <a:srgbClr val="ACB317"/>
      </a:accent1>
      <a:accent2>
        <a:srgbClr val="DC6B2F"/>
      </a:accent2>
      <a:accent3>
        <a:srgbClr val="7E589B"/>
      </a:accent3>
      <a:accent4>
        <a:srgbClr val="DC006B"/>
      </a:accent4>
      <a:accent5>
        <a:srgbClr val="528124"/>
      </a:accent5>
      <a:accent6>
        <a:srgbClr val="95766A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sz="12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0.xml><?xml version="1.0" encoding="utf-8"?>
<a:theme xmlns:a="http://schemas.openxmlformats.org/drawingml/2006/main" name="12_Conception personnalisée">
  <a:themeElements>
    <a:clrScheme name="Sanofi CHC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DC006B"/>
      </a:accent1>
      <a:accent2>
        <a:srgbClr val="2D403E"/>
      </a:accent2>
      <a:accent3>
        <a:srgbClr val="9690C4"/>
      </a:accent3>
      <a:accent4>
        <a:srgbClr val="39397C"/>
      </a:accent4>
      <a:accent5>
        <a:srgbClr val="C9C6DE"/>
      </a:accent5>
      <a:accent6>
        <a:srgbClr val="ED5B43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13_Conception personnalisée">
  <a:themeElements>
    <a:clrScheme name="Sanofi CHC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DC006B"/>
      </a:accent1>
      <a:accent2>
        <a:srgbClr val="2D403E"/>
      </a:accent2>
      <a:accent3>
        <a:srgbClr val="9690C4"/>
      </a:accent3>
      <a:accent4>
        <a:srgbClr val="39397C"/>
      </a:accent4>
      <a:accent5>
        <a:srgbClr val="C9C6DE"/>
      </a:accent5>
      <a:accent6>
        <a:srgbClr val="ED5B43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18_Conception personnalisée">
  <a:themeElements>
    <a:clrScheme name="Sanofi CHC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DC006B"/>
      </a:accent1>
      <a:accent2>
        <a:srgbClr val="2D403E"/>
      </a:accent2>
      <a:accent3>
        <a:srgbClr val="9690C4"/>
      </a:accent3>
      <a:accent4>
        <a:srgbClr val="39397C"/>
      </a:accent4>
      <a:accent5>
        <a:srgbClr val="C9C6DE"/>
      </a:accent5>
      <a:accent6>
        <a:srgbClr val="ED5B43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3.xml><?xml version="1.0" encoding="utf-8"?>
<a:theme xmlns:a="http://schemas.openxmlformats.org/drawingml/2006/main" name="19_Conception personnalisée">
  <a:themeElements>
    <a:clrScheme name="Sanofi CHC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DC006B"/>
      </a:accent1>
      <a:accent2>
        <a:srgbClr val="2D403E"/>
      </a:accent2>
      <a:accent3>
        <a:srgbClr val="9690C4"/>
      </a:accent3>
      <a:accent4>
        <a:srgbClr val="39397C"/>
      </a:accent4>
      <a:accent5>
        <a:srgbClr val="C9C6DE"/>
      </a:accent5>
      <a:accent6>
        <a:srgbClr val="ED5B43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4.xml><?xml version="1.0" encoding="utf-8"?>
<a:theme xmlns:a="http://schemas.openxmlformats.org/drawingml/2006/main" name="20_Conception personnalisée">
  <a:themeElements>
    <a:clrScheme name="Sanofi CHC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DC006B"/>
      </a:accent1>
      <a:accent2>
        <a:srgbClr val="2D403E"/>
      </a:accent2>
      <a:accent3>
        <a:srgbClr val="9690C4"/>
      </a:accent3>
      <a:accent4>
        <a:srgbClr val="39397C"/>
      </a:accent4>
      <a:accent5>
        <a:srgbClr val="C9C6DE"/>
      </a:accent5>
      <a:accent6>
        <a:srgbClr val="ED5B43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5.xml><?xml version="1.0" encoding="utf-8"?>
<a:theme xmlns:a="http://schemas.openxmlformats.org/drawingml/2006/main" name="21_Conception personnalisée">
  <a:themeElements>
    <a:clrScheme name="Sanofi CHC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DC006B"/>
      </a:accent1>
      <a:accent2>
        <a:srgbClr val="2D403E"/>
      </a:accent2>
      <a:accent3>
        <a:srgbClr val="9690C4"/>
      </a:accent3>
      <a:accent4>
        <a:srgbClr val="39397C"/>
      </a:accent4>
      <a:accent5>
        <a:srgbClr val="C9C6DE"/>
      </a:accent5>
      <a:accent6>
        <a:srgbClr val="ED5B43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6.xml><?xml version="1.0" encoding="utf-8"?>
<a:theme xmlns:a="http://schemas.openxmlformats.org/drawingml/2006/main" name="22_Conception personnalisée">
  <a:themeElements>
    <a:clrScheme name="Sanofi CHC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DC006B"/>
      </a:accent1>
      <a:accent2>
        <a:srgbClr val="2D403E"/>
      </a:accent2>
      <a:accent3>
        <a:srgbClr val="9690C4"/>
      </a:accent3>
      <a:accent4>
        <a:srgbClr val="39397C"/>
      </a:accent4>
      <a:accent5>
        <a:srgbClr val="C9C6DE"/>
      </a:accent5>
      <a:accent6>
        <a:srgbClr val="ED5B43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7.xml><?xml version="1.0" encoding="utf-8"?>
<a:theme xmlns:a="http://schemas.openxmlformats.org/drawingml/2006/main" name="23_Conception personnalisée">
  <a:themeElements>
    <a:clrScheme name="Sanofi CHC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DC006B"/>
      </a:accent1>
      <a:accent2>
        <a:srgbClr val="2D403E"/>
      </a:accent2>
      <a:accent3>
        <a:srgbClr val="9690C4"/>
      </a:accent3>
      <a:accent4>
        <a:srgbClr val="39397C"/>
      </a:accent4>
      <a:accent5>
        <a:srgbClr val="C9C6DE"/>
      </a:accent5>
      <a:accent6>
        <a:srgbClr val="ED5B43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8.xml><?xml version="1.0" encoding="utf-8"?>
<a:theme xmlns:a="http://schemas.openxmlformats.org/drawingml/2006/main" name="82_Conception personnalisée">
  <a:themeElements>
    <a:clrScheme name="Sanofi CHC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DC006B"/>
      </a:accent1>
      <a:accent2>
        <a:srgbClr val="2D403E"/>
      </a:accent2>
      <a:accent3>
        <a:srgbClr val="9690C4"/>
      </a:accent3>
      <a:accent4>
        <a:srgbClr val="39397C"/>
      </a:accent4>
      <a:accent5>
        <a:srgbClr val="C9C6DE"/>
      </a:accent5>
      <a:accent6>
        <a:srgbClr val="ED5B43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9.xml><?xml version="1.0" encoding="utf-8"?>
<a:theme xmlns:a="http://schemas.openxmlformats.org/drawingml/2006/main" name="117_Conception personnalisée">
  <a:themeElements>
    <a:clrScheme name="Sanofi CHC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DC006B"/>
      </a:accent1>
      <a:accent2>
        <a:srgbClr val="2D403E"/>
      </a:accent2>
      <a:accent3>
        <a:srgbClr val="9690C4"/>
      </a:accent3>
      <a:accent4>
        <a:srgbClr val="39397C"/>
      </a:accent4>
      <a:accent5>
        <a:srgbClr val="C9C6DE"/>
      </a:accent5>
      <a:accent6>
        <a:srgbClr val="ED5B43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Conception personnalisée">
  <a:themeElements>
    <a:clrScheme name="Sanofi CHC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DC006B"/>
      </a:accent1>
      <a:accent2>
        <a:srgbClr val="2D403E"/>
      </a:accent2>
      <a:accent3>
        <a:srgbClr val="9690C4"/>
      </a:accent3>
      <a:accent4>
        <a:srgbClr val="39397C"/>
      </a:accent4>
      <a:accent5>
        <a:srgbClr val="C9C6DE"/>
      </a:accent5>
      <a:accent6>
        <a:srgbClr val="ED5B43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0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Conception personnalisée">
  <a:themeElements>
    <a:clrScheme name="Sanofi CHC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DC006B"/>
      </a:accent1>
      <a:accent2>
        <a:srgbClr val="2D403E"/>
      </a:accent2>
      <a:accent3>
        <a:srgbClr val="9690C4"/>
      </a:accent3>
      <a:accent4>
        <a:srgbClr val="39397C"/>
      </a:accent4>
      <a:accent5>
        <a:srgbClr val="C9C6DE"/>
      </a:accent5>
      <a:accent6>
        <a:srgbClr val="ED5B43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Conception personnalisée">
  <a:themeElements>
    <a:clrScheme name="Sanofi CHC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DC006B"/>
      </a:accent1>
      <a:accent2>
        <a:srgbClr val="2D403E"/>
      </a:accent2>
      <a:accent3>
        <a:srgbClr val="9690C4"/>
      </a:accent3>
      <a:accent4>
        <a:srgbClr val="39397C"/>
      </a:accent4>
      <a:accent5>
        <a:srgbClr val="C9C6DE"/>
      </a:accent5>
      <a:accent6>
        <a:srgbClr val="ED5B43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5_Conception personnalisée">
  <a:themeElements>
    <a:clrScheme name="Sanofi CHC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DC006B"/>
      </a:accent1>
      <a:accent2>
        <a:srgbClr val="2D403E"/>
      </a:accent2>
      <a:accent3>
        <a:srgbClr val="9690C4"/>
      </a:accent3>
      <a:accent4>
        <a:srgbClr val="39397C"/>
      </a:accent4>
      <a:accent5>
        <a:srgbClr val="C9C6DE"/>
      </a:accent5>
      <a:accent6>
        <a:srgbClr val="ED5B43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15_Conception personnalisée">
  <a:themeElements>
    <a:clrScheme name="Sanofi CHC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DC006B"/>
      </a:accent1>
      <a:accent2>
        <a:srgbClr val="2D403E"/>
      </a:accent2>
      <a:accent3>
        <a:srgbClr val="9690C4"/>
      </a:accent3>
      <a:accent4>
        <a:srgbClr val="39397C"/>
      </a:accent4>
      <a:accent5>
        <a:srgbClr val="C9C6DE"/>
      </a:accent5>
      <a:accent6>
        <a:srgbClr val="ED5B43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6_Conception personnalisée">
  <a:themeElements>
    <a:clrScheme name="Sanofi CHC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DC006B"/>
      </a:accent1>
      <a:accent2>
        <a:srgbClr val="2D403E"/>
      </a:accent2>
      <a:accent3>
        <a:srgbClr val="9690C4"/>
      </a:accent3>
      <a:accent4>
        <a:srgbClr val="39397C"/>
      </a:accent4>
      <a:accent5>
        <a:srgbClr val="C9C6DE"/>
      </a:accent5>
      <a:accent6>
        <a:srgbClr val="ED5B43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7_Conception personnalisée">
  <a:themeElements>
    <a:clrScheme name="Sanofi CHC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DC006B"/>
      </a:accent1>
      <a:accent2>
        <a:srgbClr val="2D403E"/>
      </a:accent2>
      <a:accent3>
        <a:srgbClr val="9690C4"/>
      </a:accent3>
      <a:accent4>
        <a:srgbClr val="39397C"/>
      </a:accent4>
      <a:accent5>
        <a:srgbClr val="C9C6DE"/>
      </a:accent5>
      <a:accent6>
        <a:srgbClr val="ED5B43"/>
      </a:accent6>
      <a:hlink>
        <a:srgbClr val="751D1F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Conception personnalisé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25</TotalTime>
  <Words>81</Words>
  <Application>Microsoft Office PowerPoint</Application>
  <PresentationFormat>Pokaz na ekranie (4:3)</PresentationFormat>
  <Paragraphs>63</Paragraphs>
  <Slides>4</Slides>
  <Notes>4</Notes>
  <HiddenSlides>0</HiddenSlides>
  <MMClips>0</MMClips>
  <ScaleCrop>false</ScaleCrop>
  <HeadingPairs>
    <vt:vector size="8" baseType="variant">
      <vt:variant>
        <vt:lpstr>Używane czcionki</vt:lpstr>
      </vt:variant>
      <vt:variant>
        <vt:i4>7</vt:i4>
      </vt:variant>
      <vt:variant>
        <vt:lpstr>Motyw</vt:lpstr>
      </vt:variant>
      <vt:variant>
        <vt:i4>29</vt:i4>
      </vt:variant>
      <vt:variant>
        <vt:lpstr>Osadzone serwery OLE</vt:lpstr>
      </vt:variant>
      <vt:variant>
        <vt:i4>3</vt:i4>
      </vt:variant>
      <vt:variant>
        <vt:lpstr>Tytuły slajdów</vt:lpstr>
      </vt:variant>
      <vt:variant>
        <vt:i4>4</vt:i4>
      </vt:variant>
    </vt:vector>
  </HeadingPairs>
  <TitlesOfParts>
    <vt:vector size="43" baseType="lpstr">
      <vt:lpstr>MS PGothic</vt:lpstr>
      <vt:lpstr>Arial</vt:lpstr>
      <vt:lpstr>Calibri</vt:lpstr>
      <vt:lpstr>Century Gothic</vt:lpstr>
      <vt:lpstr>ITC Avant Garde Gothic Book</vt:lpstr>
      <vt:lpstr>Verdana</vt:lpstr>
      <vt:lpstr>Wingdings</vt:lpstr>
      <vt:lpstr>1_Conception personnalisée</vt:lpstr>
      <vt:lpstr>Thème Office</vt:lpstr>
      <vt:lpstr>2_Conception personnalisée</vt:lpstr>
      <vt:lpstr>3_Conception personnalisée</vt:lpstr>
      <vt:lpstr>4_Conception personnalisée</vt:lpstr>
      <vt:lpstr>5_Conception personnalisée</vt:lpstr>
      <vt:lpstr>15_Conception personnalisée</vt:lpstr>
      <vt:lpstr>6_Conception personnalisée</vt:lpstr>
      <vt:lpstr>7_Conception personnalisée</vt:lpstr>
      <vt:lpstr>10_Conception personnalisée</vt:lpstr>
      <vt:lpstr>9_Conception personnalisée</vt:lpstr>
      <vt:lpstr>1_Ocre SG template</vt:lpstr>
      <vt:lpstr>8_Conception personnalisée</vt:lpstr>
      <vt:lpstr>Blue SG template</vt:lpstr>
      <vt:lpstr>35_Blue SG template</vt:lpstr>
      <vt:lpstr>16_Conception personnalisée</vt:lpstr>
      <vt:lpstr>11_Conception personnalisée</vt:lpstr>
      <vt:lpstr>14_Conception personnalisée</vt:lpstr>
      <vt:lpstr>17_Conception personnalisée</vt:lpstr>
      <vt:lpstr>12_Conception personnalisée</vt:lpstr>
      <vt:lpstr>13_Conception personnalisée</vt:lpstr>
      <vt:lpstr>18_Conception personnalisée</vt:lpstr>
      <vt:lpstr>19_Conception personnalisée</vt:lpstr>
      <vt:lpstr>20_Conception personnalisée</vt:lpstr>
      <vt:lpstr>21_Conception personnalisée</vt:lpstr>
      <vt:lpstr>22_Conception personnalisée</vt:lpstr>
      <vt:lpstr>23_Conception personnalisée</vt:lpstr>
      <vt:lpstr>82_Conception personnalisée</vt:lpstr>
      <vt:lpstr>117_Conception personnalisée</vt:lpstr>
      <vt:lpstr>think-cell Folie</vt:lpstr>
      <vt:lpstr>think-cell Slide</vt:lpstr>
      <vt:lpstr>Diapositive think-cell</vt:lpstr>
      <vt:lpstr>CHC Leadership Network</vt:lpstr>
      <vt:lpstr>Our Purpose &amp; Values</vt:lpstr>
      <vt:lpstr>Activation stories</vt:lpstr>
      <vt:lpstr>How we are reaching out our mission in CHC Poland?  </vt:lpstr>
    </vt:vector>
  </TitlesOfParts>
  <Company>Ormè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Amandine Hay</dc:creator>
  <cp:lastModifiedBy>Ross, Joanna /PL</cp:lastModifiedBy>
  <cp:revision>1142</cp:revision>
  <cp:lastPrinted>2014-03-05T16:00:17Z</cp:lastPrinted>
  <dcterms:created xsi:type="dcterms:W3CDTF">2012-05-16T16:16:09Z</dcterms:created>
  <dcterms:modified xsi:type="dcterms:W3CDTF">2018-02-16T11:36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